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47.xml" ContentType="application/vnd.openxmlformats-officedocument.presentationml.slide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Layouts/slideLayout46.xml" ContentType="application/vnd.openxmlformats-officedocument.presentationml.slideLayout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notesSlides/notesSlide2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slideLayouts/slideLayout29.xml" ContentType="application/vnd.openxmlformats-officedocument.presentationml.slideLayout+xml"/>
  <Default Extension="png" ContentType="image/png"/>
  <Override PartName="/ppt/slideLayouts/slideLayout58.xml" ContentType="application/vnd.openxmlformats-officedocument.presentationml.slideLayout+xml"/>
  <Override PartName="/ppt/slideLayouts/slideLayout76.xml" ContentType="application/vnd.openxmlformats-officedocument.presentationml.slideLayout+xml"/>
  <Override PartName="/ppt/notesSlides/notesSlide3.xml" ContentType="application/vnd.openxmlformats-officedocument.presentationml.notesSlide+xml"/>
  <Override PartName="/ppt/charts/style1.xml" ContentType="application/vnd.ms-office.chartstyl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72.xml" ContentType="application/vnd.openxmlformats-officedocument.presentationml.slideLayout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61.xml" ContentType="application/vnd.openxmlformats-officedocument.presentationml.slideLayout+xml"/>
  <Override PartName="/ppt/notesSlides/notesSlide24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notesSlides/notesSlide13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layout2.xml" ContentType="application/vnd.openxmlformats-officedocument.drawingml.diagramLayout+xml"/>
  <Default Extension="gif" ContentType="image/gif"/>
  <Override PartName="/ppt/slideMasters/slideMaster5.xml" ContentType="application/vnd.openxmlformats-officedocument.presentationml.slideMaster+xml"/>
  <Override PartName="/ppt/slides/slide49.xml" ContentType="application/vnd.openxmlformats-officedocument.presentationml.slide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diagrams/colors1.xml" ContentType="application/vnd.openxmlformats-officedocument.drawingml.diagramColors+xml"/>
  <Default Extension="svg" ContentType="image/svg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notesSlides/notesSlide19.xml" ContentType="application/vnd.openxmlformats-officedocument.presentationml.notesSlide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6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notesSlides/notesSlide22.xml" ContentType="application/vnd.openxmlformats-officedocument.presentationml.notesSlide+xml"/>
  <Override PartName="/ppt/charts/colors1.xml" ContentType="application/vnd.ms-office.chartcolorstyle+xml"/>
  <Default Extension="tiff" ContentType="image/tiff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diagrams/data1.xml" ContentType="application/vnd.openxmlformats-officedocument.drawingml.diagramData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2" r:id="rId2"/>
    <p:sldMasterId id="2147483683" r:id="rId3"/>
    <p:sldMasterId id="2147483704" r:id="rId4"/>
    <p:sldMasterId id="2147483717" r:id="rId5"/>
  </p:sldMasterIdLst>
  <p:notesMasterIdLst>
    <p:notesMasterId r:id="rId56"/>
  </p:notesMasterIdLst>
  <p:handoutMasterIdLst>
    <p:handoutMasterId r:id="rId57"/>
  </p:handoutMasterIdLst>
  <p:sldIdLst>
    <p:sldId id="325" r:id="rId6"/>
    <p:sldId id="626" r:id="rId7"/>
    <p:sldId id="628" r:id="rId8"/>
    <p:sldId id="608" r:id="rId9"/>
    <p:sldId id="609" r:id="rId10"/>
    <p:sldId id="629" r:id="rId11"/>
    <p:sldId id="630" r:id="rId12"/>
    <p:sldId id="645" r:id="rId13"/>
    <p:sldId id="612" r:id="rId14"/>
    <p:sldId id="631" r:id="rId15"/>
    <p:sldId id="632" r:id="rId16"/>
    <p:sldId id="615" r:id="rId17"/>
    <p:sldId id="646" r:id="rId18"/>
    <p:sldId id="633" r:id="rId19"/>
    <p:sldId id="634" r:id="rId20"/>
    <p:sldId id="639" r:id="rId21"/>
    <p:sldId id="647" r:id="rId22"/>
    <p:sldId id="648" r:id="rId23"/>
    <p:sldId id="649" r:id="rId24"/>
    <p:sldId id="650" r:id="rId25"/>
    <p:sldId id="651" r:id="rId26"/>
    <p:sldId id="652" r:id="rId27"/>
    <p:sldId id="653" r:id="rId28"/>
    <p:sldId id="654" r:id="rId29"/>
    <p:sldId id="655" r:id="rId30"/>
    <p:sldId id="656" r:id="rId31"/>
    <p:sldId id="658" r:id="rId32"/>
    <p:sldId id="663" r:id="rId33"/>
    <p:sldId id="664" r:id="rId34"/>
    <p:sldId id="665" r:id="rId35"/>
    <p:sldId id="666" r:id="rId36"/>
    <p:sldId id="667" r:id="rId37"/>
    <p:sldId id="668" r:id="rId38"/>
    <p:sldId id="669" r:id="rId39"/>
    <p:sldId id="670" r:id="rId40"/>
    <p:sldId id="660" r:id="rId41"/>
    <p:sldId id="671" r:id="rId42"/>
    <p:sldId id="672" r:id="rId43"/>
    <p:sldId id="661" r:id="rId44"/>
    <p:sldId id="673" r:id="rId45"/>
    <p:sldId id="674" r:id="rId46"/>
    <p:sldId id="675" r:id="rId47"/>
    <p:sldId id="635" r:id="rId48"/>
    <p:sldId id="636" r:id="rId49"/>
    <p:sldId id="638" r:id="rId50"/>
    <p:sldId id="640" r:id="rId51"/>
    <p:sldId id="637" r:id="rId52"/>
    <p:sldId id="641" r:id="rId53"/>
    <p:sldId id="643" r:id="rId54"/>
    <p:sldId id="642" r:id="rId55"/>
  </p:sldIdLst>
  <p:sldSz cx="12192000" cy="6858000"/>
  <p:notesSz cx="6805613" cy="9944100"/>
  <p:custDataLst>
    <p:tags r:id="rId5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890" userDrawn="1">
          <p15:clr>
            <a:srgbClr val="A4A3A4"/>
          </p15:clr>
        </p15:guide>
        <p15:guide id="3" pos="347" userDrawn="1">
          <p15:clr>
            <a:srgbClr val="A4A3A4"/>
          </p15:clr>
        </p15:guide>
        <p15:guide id="5" pos="7650" userDrawn="1">
          <p15:clr>
            <a:srgbClr val="A4A3A4"/>
          </p15:clr>
        </p15:guide>
        <p15:guide id="6" orient="horz" pos="1200" userDrawn="1">
          <p15:clr>
            <a:srgbClr val="A4A3A4"/>
          </p15:clr>
        </p15:guide>
        <p15:guide id="7" pos="6924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D64214"/>
    <a:srgbClr val="EAB200"/>
    <a:srgbClr val="ED7D31"/>
    <a:srgbClr val="2F5597"/>
    <a:srgbClr val="FFD966"/>
    <a:srgbClr val="00B0F0"/>
    <a:srgbClr val="FF99CC"/>
    <a:srgbClr val="00B050"/>
    <a:srgbClr val="B1BDF1"/>
    <a:srgbClr val="95E7E7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296" autoAdjust="0"/>
  </p:normalViewPr>
  <p:slideViewPr>
    <p:cSldViewPr snapToGrid="0">
      <p:cViewPr varScale="1">
        <p:scale>
          <a:sx n="68" d="100"/>
          <a:sy n="68" d="100"/>
        </p:scale>
        <p:origin x="-254" y="-82"/>
      </p:cViewPr>
      <p:guideLst>
        <p:guide orient="horz" pos="890"/>
        <p:guide orient="horz" pos="1200"/>
        <p:guide pos="347"/>
        <p:guide pos="7650"/>
        <p:guide pos="69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338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handoutMaster" Target="handoutMasters/handoutMaster1.xml"/><Relationship Id="rId61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Office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pieChart>
        <c:varyColors val="1"/>
        <c:ser>
          <c:idx val="0"/>
          <c:order val="0"/>
          <c:dPt>
            <c:idx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543-4495-A287-D7A469FBD0FE}"/>
              </c:ext>
            </c:extLst>
          </c:dPt>
          <c:dPt>
            <c:idx val="1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543-4495-A287-D7A469FBD0FE}"/>
              </c:ext>
            </c:extLst>
          </c:dPt>
          <c:dPt>
            <c:idx val="2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543-4495-A287-D7A469FBD0FE}"/>
              </c:ext>
            </c:extLst>
          </c:dPt>
          <c:dPt>
            <c:idx val="3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A543-4495-A287-D7A469FBD0FE}"/>
              </c:ext>
            </c:extLst>
          </c:dPt>
          <c:dPt>
            <c:idx val="4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A543-4495-A287-D7A469FBD0FE}"/>
              </c:ext>
            </c:extLst>
          </c:dPt>
          <c:val>
            <c:numRef>
              <c:f>Лист1!$N$13:$N$17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A543-4495-A287-D7A469FBD0FE}"/>
            </c:ext>
          </c:extLst>
        </c:ser>
        <c:firstSliceAng val="0"/>
      </c:pieChart>
      <c:spPr>
        <a:noFill/>
        <a:ln w="25400">
          <a:noFill/>
        </a:ln>
        <a:effectLst/>
      </c:spPr>
    </c:plotArea>
    <c:plotVisOnly val="1"/>
    <c:dispBlanksAs val="zero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5.jpeg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6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D763BC5-AE12-4E65-B2A3-1CF78DBB856F}" type="doc">
      <dgm:prSet loTypeId="urn:microsoft.com/office/officeart/2008/layout/CircularPictureCallout" loCatId="picture" qsTypeId="urn:microsoft.com/office/officeart/2005/8/quickstyle/simple1" qsCatId="simple" csTypeId="urn:microsoft.com/office/officeart/2005/8/colors/accent1_2" csCatId="accent1" phldr="1"/>
      <dgm:spPr/>
    </dgm:pt>
    <dgm:pt modelId="{6FD654BE-F717-4595-B350-68318810257A}">
      <dgm:prSet phldrT="[Текст]" phldr="1"/>
      <dgm:spPr/>
      <dgm:t>
        <a:bodyPr/>
        <a:lstStyle/>
        <a:p>
          <a:endParaRPr lang="ru-RU" dirty="0"/>
        </a:p>
      </dgm:t>
    </dgm:pt>
    <dgm:pt modelId="{24A30056-F440-4983-8D09-18E8485734DB}" type="parTrans" cxnId="{D57200E8-E1AD-42EA-953A-136F64B47084}">
      <dgm:prSet/>
      <dgm:spPr/>
      <dgm:t>
        <a:bodyPr/>
        <a:lstStyle/>
        <a:p>
          <a:endParaRPr lang="ru-RU"/>
        </a:p>
      </dgm:t>
    </dgm:pt>
    <dgm:pt modelId="{F3EBCFBA-F68D-46BA-86EE-849433EB8910}" type="sibTrans" cxnId="{D57200E8-E1AD-42EA-953A-136F64B47084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  <dgm:t>
        <a:bodyPr/>
        <a:lstStyle/>
        <a:p>
          <a:endParaRPr lang="ru-RU"/>
        </a:p>
      </dgm:t>
      <dgm:extLst>
        <a:ext uri="{E40237B7-FDA0-4F09-8148-C483321AD2D9}">
          <dgm14:cNvPr xmlns="" xmlns:dgm14="http://schemas.microsoft.com/office/drawing/2010/diagram" id="0" name="" descr="ÐÐ°ÑÑÐ¸Ð½ÐºÐ¸ Ð¿Ð¾ Ð·Ð°Ð¿ÑÐ¾ÑÑ ÐºÑÑÑÑ Ð¿Ð¾Ð²ÑÑÐµÐ½Ð¸Ñ ÐºÐ²Ð°Ð»Ð¸ÑÐ¸ÐºÐ°ÑÐ¸Ð¸"/>
        </a:ext>
      </dgm:extLst>
    </dgm:pt>
    <dgm:pt modelId="{D47FAA42-1630-4CFD-B972-A1308E01E8A2}" type="pres">
      <dgm:prSet presAssocID="{8D763BC5-AE12-4E65-B2A3-1CF78DBB856F}" presName="Name0" presStyleCnt="0">
        <dgm:presLayoutVars>
          <dgm:chMax val="7"/>
          <dgm:chPref val="7"/>
          <dgm:dir/>
        </dgm:presLayoutVars>
      </dgm:prSet>
      <dgm:spPr/>
    </dgm:pt>
    <dgm:pt modelId="{3423AD57-EE59-466F-8B46-378E3AB73C46}" type="pres">
      <dgm:prSet presAssocID="{8D763BC5-AE12-4E65-B2A3-1CF78DBB856F}" presName="Name1" presStyleCnt="0"/>
      <dgm:spPr/>
    </dgm:pt>
    <dgm:pt modelId="{4B8F7384-7D00-4C02-B6F8-146AA591B826}" type="pres">
      <dgm:prSet presAssocID="{F3EBCFBA-F68D-46BA-86EE-849433EB8910}" presName="picture_1" presStyleCnt="0"/>
      <dgm:spPr/>
    </dgm:pt>
    <dgm:pt modelId="{20ED295D-5444-4FB6-8C62-32F43668FD2A}" type="pres">
      <dgm:prSet presAssocID="{F3EBCFBA-F68D-46BA-86EE-849433EB8910}" presName="pictureRepeatNode" presStyleLbl="alignImgPlace1" presStyleIdx="0" presStyleCnt="1" custScaleX="89603" custScaleY="89448" custLinFactNeighborX="-4775" custLinFactNeighborY="2257"/>
      <dgm:spPr/>
      <dgm:t>
        <a:bodyPr/>
        <a:lstStyle/>
        <a:p>
          <a:endParaRPr lang="ru-RU"/>
        </a:p>
      </dgm:t>
    </dgm:pt>
    <dgm:pt modelId="{AA5B3332-AA74-458E-8B10-5BCDD19B8510}" type="pres">
      <dgm:prSet presAssocID="{6FD654BE-F717-4595-B350-68318810257A}" presName="text_1" presStyleLbl="node1" presStyleIdx="0" presStyleCnt="0" custFlipHor="1" custScaleX="4657" custScaleY="4973" custLinFactX="-100000" custLinFactY="100000" custLinFactNeighborX="-120326" custLinFactNeighborY="13957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6FA5A6A-02DD-435F-8128-6D4E22761B1D}" type="presOf" srcId="{F3EBCFBA-F68D-46BA-86EE-849433EB8910}" destId="{20ED295D-5444-4FB6-8C62-32F43668FD2A}" srcOrd="0" destOrd="0" presId="urn:microsoft.com/office/officeart/2008/layout/CircularPictureCallout"/>
    <dgm:cxn modelId="{AFF8E48E-B600-44F1-B924-94DE2A9A48F3}" type="presOf" srcId="{6FD654BE-F717-4595-B350-68318810257A}" destId="{AA5B3332-AA74-458E-8B10-5BCDD19B8510}" srcOrd="0" destOrd="0" presId="urn:microsoft.com/office/officeart/2008/layout/CircularPictureCallout"/>
    <dgm:cxn modelId="{BF4697AA-4D24-4AA4-8A01-AC041939B3EF}" type="presOf" srcId="{8D763BC5-AE12-4E65-B2A3-1CF78DBB856F}" destId="{D47FAA42-1630-4CFD-B972-A1308E01E8A2}" srcOrd="0" destOrd="0" presId="urn:microsoft.com/office/officeart/2008/layout/CircularPictureCallout"/>
    <dgm:cxn modelId="{D57200E8-E1AD-42EA-953A-136F64B47084}" srcId="{8D763BC5-AE12-4E65-B2A3-1CF78DBB856F}" destId="{6FD654BE-F717-4595-B350-68318810257A}" srcOrd="0" destOrd="0" parTransId="{24A30056-F440-4983-8D09-18E8485734DB}" sibTransId="{F3EBCFBA-F68D-46BA-86EE-849433EB8910}"/>
    <dgm:cxn modelId="{1B32B056-BD96-4BDD-8E87-A12C8D79EDFC}" type="presParOf" srcId="{D47FAA42-1630-4CFD-B972-A1308E01E8A2}" destId="{3423AD57-EE59-466F-8B46-378E3AB73C46}" srcOrd="0" destOrd="0" presId="urn:microsoft.com/office/officeart/2008/layout/CircularPictureCallout"/>
    <dgm:cxn modelId="{CBD2BEAE-831E-4D93-A3E8-1CB68B18FA1B}" type="presParOf" srcId="{3423AD57-EE59-466F-8B46-378E3AB73C46}" destId="{4B8F7384-7D00-4C02-B6F8-146AA591B826}" srcOrd="0" destOrd="0" presId="urn:microsoft.com/office/officeart/2008/layout/CircularPictureCallout"/>
    <dgm:cxn modelId="{0224D995-B82C-4DF5-83FE-220E087F4030}" type="presParOf" srcId="{4B8F7384-7D00-4C02-B6F8-146AA591B826}" destId="{20ED295D-5444-4FB6-8C62-32F43668FD2A}" srcOrd="0" destOrd="0" presId="urn:microsoft.com/office/officeart/2008/layout/CircularPictureCallout"/>
    <dgm:cxn modelId="{6B229949-1414-4093-BA1B-3A625E96730B}" type="presParOf" srcId="{3423AD57-EE59-466F-8B46-378E3AB73C46}" destId="{AA5B3332-AA74-458E-8B10-5BCDD19B8510}" srcOrd="1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xmlns="" relId="rId2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C8BDB8F-272C-4A80-9D05-BCB5F01299B0}" type="doc">
      <dgm:prSet loTypeId="urn:microsoft.com/office/officeart/2008/layout/CircularPictureCallout" loCatId="picture" qsTypeId="urn:microsoft.com/office/officeart/2005/8/quickstyle/simple1" qsCatId="simple" csTypeId="urn:microsoft.com/office/officeart/2005/8/colors/accent1_2" csCatId="accent1" phldr="1"/>
      <dgm:spPr/>
    </dgm:pt>
    <dgm:pt modelId="{12A4313A-278A-44F3-A465-001AF9324A4B}">
      <dgm:prSet phldrT="[Текст]" phldr="1"/>
      <dgm:spPr/>
      <dgm:t>
        <a:bodyPr/>
        <a:lstStyle/>
        <a:p>
          <a:endParaRPr lang="ru-RU" dirty="0"/>
        </a:p>
      </dgm:t>
    </dgm:pt>
    <dgm:pt modelId="{7A5B4101-A5DB-4B45-A2C7-6540E402F3BD}" type="sibTrans" cxnId="{F94887CC-036B-436C-8B5D-4A147D7296DB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  <dgm:t>
        <a:bodyPr/>
        <a:lstStyle/>
        <a:p>
          <a:endParaRPr lang="ru-RU"/>
        </a:p>
      </dgm:t>
      <dgm:extLst>
        <a:ext uri="{E40237B7-FDA0-4F09-8148-C483321AD2D9}">
          <dgm14:cNvPr xmlns="" xmlns:dgm14="http://schemas.microsoft.com/office/drawing/2010/diagram" id="0" name="" descr="ÐÐ°ÑÑÐ¸Ð½ÐºÐ¸ Ð¿Ð¾ Ð·Ð°Ð¿ÑÐ¾ÑÑ Ð¼Ð°ÑÑÐµÑ-ÐºÐ»Ð°ÑÑÑ Ð¿ÑÐ¾ÑÐ²ÐµÑÐµÐ½Ð¸Ðµ"/>
        </a:ext>
      </dgm:extLst>
    </dgm:pt>
    <dgm:pt modelId="{8580AD0B-C6C2-4929-B0D6-349EDA211192}" type="parTrans" cxnId="{F94887CC-036B-436C-8B5D-4A147D7296DB}">
      <dgm:prSet/>
      <dgm:spPr/>
      <dgm:t>
        <a:bodyPr/>
        <a:lstStyle/>
        <a:p>
          <a:endParaRPr lang="ru-RU"/>
        </a:p>
      </dgm:t>
    </dgm:pt>
    <dgm:pt modelId="{75013432-6154-45CB-A004-3C445EEEBB72}" type="pres">
      <dgm:prSet presAssocID="{4C8BDB8F-272C-4A80-9D05-BCB5F01299B0}" presName="Name0" presStyleCnt="0">
        <dgm:presLayoutVars>
          <dgm:chMax val="7"/>
          <dgm:chPref val="7"/>
          <dgm:dir/>
        </dgm:presLayoutVars>
      </dgm:prSet>
      <dgm:spPr/>
    </dgm:pt>
    <dgm:pt modelId="{B307C49C-BEFF-4292-A152-E141BBC78BD6}" type="pres">
      <dgm:prSet presAssocID="{4C8BDB8F-272C-4A80-9D05-BCB5F01299B0}" presName="Name1" presStyleCnt="0"/>
      <dgm:spPr/>
    </dgm:pt>
    <dgm:pt modelId="{F215807F-7521-425F-A90B-F8F957A48FD7}" type="pres">
      <dgm:prSet presAssocID="{7A5B4101-A5DB-4B45-A2C7-6540E402F3BD}" presName="picture_1" presStyleCnt="0"/>
      <dgm:spPr/>
    </dgm:pt>
    <dgm:pt modelId="{8B83007E-CCC8-4CC4-970F-0832A9AA7D4D}" type="pres">
      <dgm:prSet presAssocID="{7A5B4101-A5DB-4B45-A2C7-6540E402F3BD}" presName="pictureRepeatNode" presStyleLbl="alignImgPlace1" presStyleIdx="0" presStyleCnt="1" custScaleX="58579" custScaleY="54269" custLinFactNeighborX="-60319" custLinFactNeighborY="12338"/>
      <dgm:spPr/>
      <dgm:t>
        <a:bodyPr/>
        <a:lstStyle/>
        <a:p>
          <a:endParaRPr lang="ru-RU"/>
        </a:p>
      </dgm:t>
    </dgm:pt>
    <dgm:pt modelId="{AEC2799F-18CB-4CEF-9EDB-73E973123556}" type="pres">
      <dgm:prSet presAssocID="{12A4313A-278A-44F3-A465-001AF9324A4B}" presName="text_1" presStyleLbl="node1" presStyleIdx="0" presStyleCnt="0" custScaleX="56398" custScaleY="61590" custLinFactNeighborX="-701" custLinFactNeighborY="1494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9E254FE-CD12-42AB-BEBB-A7E85F8607A3}" type="presOf" srcId="{7A5B4101-A5DB-4B45-A2C7-6540E402F3BD}" destId="{8B83007E-CCC8-4CC4-970F-0832A9AA7D4D}" srcOrd="0" destOrd="0" presId="urn:microsoft.com/office/officeart/2008/layout/CircularPictureCallout"/>
    <dgm:cxn modelId="{D35D2251-E9AC-4320-A1B3-4EECD64619CD}" type="presOf" srcId="{12A4313A-278A-44F3-A465-001AF9324A4B}" destId="{AEC2799F-18CB-4CEF-9EDB-73E973123556}" srcOrd="0" destOrd="0" presId="urn:microsoft.com/office/officeart/2008/layout/CircularPictureCallout"/>
    <dgm:cxn modelId="{0A079328-50B2-4FC8-94F7-9C760FDBD785}" type="presOf" srcId="{4C8BDB8F-272C-4A80-9D05-BCB5F01299B0}" destId="{75013432-6154-45CB-A004-3C445EEEBB72}" srcOrd="0" destOrd="0" presId="urn:microsoft.com/office/officeart/2008/layout/CircularPictureCallout"/>
    <dgm:cxn modelId="{F94887CC-036B-436C-8B5D-4A147D7296DB}" srcId="{4C8BDB8F-272C-4A80-9D05-BCB5F01299B0}" destId="{12A4313A-278A-44F3-A465-001AF9324A4B}" srcOrd="0" destOrd="0" parTransId="{8580AD0B-C6C2-4929-B0D6-349EDA211192}" sibTransId="{7A5B4101-A5DB-4B45-A2C7-6540E402F3BD}"/>
    <dgm:cxn modelId="{F0898C1F-845A-41EB-9376-EFC53CFA943A}" type="presParOf" srcId="{75013432-6154-45CB-A004-3C445EEEBB72}" destId="{B307C49C-BEFF-4292-A152-E141BBC78BD6}" srcOrd="0" destOrd="0" presId="urn:microsoft.com/office/officeart/2008/layout/CircularPictureCallout"/>
    <dgm:cxn modelId="{B545FCA3-D8C3-4CB2-A925-7A7507B4B285}" type="presParOf" srcId="{B307C49C-BEFF-4292-A152-E141BBC78BD6}" destId="{F215807F-7521-425F-A90B-F8F957A48FD7}" srcOrd="0" destOrd="0" presId="urn:microsoft.com/office/officeart/2008/layout/CircularPictureCallout"/>
    <dgm:cxn modelId="{8179342F-1DC2-42A4-866C-8EB44563FA94}" type="presParOf" srcId="{F215807F-7521-425F-A90B-F8F957A48FD7}" destId="{8B83007E-CCC8-4CC4-970F-0832A9AA7D4D}" srcOrd="0" destOrd="0" presId="urn:microsoft.com/office/officeart/2008/layout/CircularPictureCallout"/>
    <dgm:cxn modelId="{D0976875-EBAF-4892-8EDD-71FA3AC7D594}" type="presParOf" srcId="{B307C49C-BEFF-4292-A152-E141BBC78BD6}" destId="{AEC2799F-18CB-4CEF-9EDB-73E973123556}" srcOrd="1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xmlns="" relId="rId2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 smtClean="0"/>
              <a:t>1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9A5FDA-3ABD-4F5A-A8E1-3EACD844AA0E}" type="datetime1">
              <a:rPr lang="ru-RU" smtClean="0"/>
              <a:pPr/>
              <a:t>13.10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B21B72-D5D6-4B25-81DB-AB85CA740B6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715868871"/>
      </p:ext>
    </p:extLst>
  </p:cSld>
  <p:clrMap bg1="lt1" tx1="dk1" bg2="lt2" tx2="dk2" accent1="accent1" accent2="accent2" accent3="accent3" accent4="accent4" accent5="accent5" accent6="accent6" hlink="hlink" folHlink="folHlink"/>
  <p:hf sldNum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EAABCD87-94AF-4B5B-BAF1-F5284FE899C7}" type="datetime1">
              <a:rPr lang="ru-RU" smtClean="0"/>
              <a:pPr/>
              <a:t>13.10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hf sldNum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834F1D5-33B3-480A-A4E8-311841A67364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1578884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60B212FF-64EE-4B1E-93F4-6D09F2028D59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8219301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4455C514-E899-479F-879B-9AF287D8C535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224426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defTabSz="865415"/>
            <a:endParaRPr lang="ru-RU" b="0" dirty="0">
              <a:solidFill>
                <a:schemeClr val="bg1"/>
              </a:solidFill>
            </a:endParaRPr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2DD9FE-5FB0-4B08-98A1-3759FF442E5B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14557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B8D61484-6B9C-49E4-88AB-7D80EFC1B4CF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5420431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8290897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E1567232-3087-46B5-AC68-DAC877C618A8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975268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126606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676972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C6EAE5-F4E0-42F4-B555-7EACBFF9417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221124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C6EAE5-F4E0-42F4-B555-7EACBFF9417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586555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06416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BA16CB4-D695-4AC0-A0BD-C5D592F89335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9257384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2FEB2F6-545A-4670-B897-4E5B0FC35E41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0241724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998964F3-C067-4A66-8722-93E1EA6179D9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07864365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CDA3A1B-6957-446D-A75F-1E70975D6090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58257593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F9092B0-3572-41E5-ACB1-B45717419603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6443400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–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е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такие новые проекты, как</a:t>
            </a:r>
          </a:p>
          <a:p>
            <a:pPr indent="288000"/>
            <a:r>
              <a:rPr lang="ru-RU" sz="1800" dirty="0"/>
              <a:t>- Экология</a:t>
            </a:r>
          </a:p>
          <a:p>
            <a:pPr indent="288000"/>
            <a:r>
              <a:rPr lang="ru-RU" sz="1800" dirty="0"/>
              <a:t>- Лидерство</a:t>
            </a:r>
          </a:p>
          <a:p>
            <a:pPr indent="288000"/>
            <a:r>
              <a:rPr lang="ru-RU" sz="1800" dirty="0"/>
              <a:t>- Волонтёрство, а также проект «Право «Просвещение», который оказывает правовую поддержку школам и педагогам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41381989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49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16507618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1ADD950F-4718-4BFC-B9E0-69B49DFC71DA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630026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A05E6458-3F23-4BB8-8927-4CF002F6693B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07955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30C6EAE5-F4E0-42F4-B555-7EACBFF94179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2312081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002E3F6-8D60-4247-BBA3-9C7DC97B6E68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115485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defTabSz="865415"/>
            <a:endParaRPr lang="ru-RU" b="0" dirty="0">
              <a:solidFill>
                <a:schemeClr val="bg1"/>
              </a:solidFill>
            </a:endParaRPr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B32DD9FE-5FB0-4B08-98A1-3759FF442E5B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41962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defTabSz="865415"/>
            <a:endParaRPr lang="ru-RU" b="0" dirty="0">
              <a:solidFill>
                <a:schemeClr val="bg1"/>
              </a:solidFill>
            </a:endParaRPr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B32DD9FE-5FB0-4B08-98A1-3759FF442E5B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41962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BB47362D-FE5A-4A91-AE50-71A341E7497B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4598571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73B6565E-B334-4A64-BADA-C56DA8B59DDC}" type="datetime1">
              <a:rPr lang="ru-RU" smtClean="0"/>
              <a:pPr/>
              <a:t>13.10.202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350724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7663" y="6377941"/>
            <a:ext cx="3903683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949" y="6377941"/>
            <a:ext cx="280577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="" xmlns:p14="http://schemas.microsoft.com/office/powerpoint/2010/main" val="26235216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5924339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1" name="Линия"/>
          <p:cNvSpPr/>
          <p:nvPr/>
        </p:nvSpPr>
        <p:spPr>
          <a:xfrm flipH="1">
            <a:off x="6055025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2" name="Линия"/>
          <p:cNvSpPr/>
          <p:nvPr/>
        </p:nvSpPr>
        <p:spPr>
          <a:xfrm flipH="1">
            <a:off x="6010376" y="880580"/>
            <a:ext cx="21263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3" name="Линия"/>
          <p:cNvSpPr/>
          <p:nvPr/>
        </p:nvSpPr>
        <p:spPr>
          <a:xfrm>
            <a:off x="5776306" y="1279922"/>
            <a:ext cx="639390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pic>
        <p:nvPicPr>
          <p:cNvPr id="12" name="pasted-image.tiff" descr="pasted-image.tiff"/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/>
          </a:blip>
          <a:srcRect l="39743" r="39743" b="36077"/>
          <a:stretch>
            <a:fillRect/>
          </a:stretch>
        </p:blipFill>
        <p:spPr>
          <a:xfrm>
            <a:off x="11771619" y="1"/>
            <a:ext cx="318781" cy="3334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="" xmlns:p14="http://schemas.microsoft.com/office/powerpoint/2010/main" val="1342388550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rgbClr val="29479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D5EA3D-460D-4B2E-9F65-C0D556FB740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75808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6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C97CB9-66EA-48D7-824F-3A78AA19154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59971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6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C97CB9-66EA-48D7-824F-3A78AA19154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78377" y="1913735"/>
            <a:ext cx="5617933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7552395" y="1519717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Альтернатива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275199" y="1497049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55E4B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Исключенные из ФПУ учебники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955E4B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6" y="1919552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5520051" y="2023157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178377" y="2507789"/>
            <a:ext cx="5617933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925181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6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C97CB9-66EA-48D7-824F-3A78AA19154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78377" y="1913735"/>
            <a:ext cx="5617933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7467600" y="1563144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Альтернатива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149965" y="1538161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55E4B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Исключенные из ФПУ учебники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955E4B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6" y="1919553"/>
            <a:ext cx="4835181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5520051" y="2023157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178377" y="2507789"/>
            <a:ext cx="5617933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176" y="3096930"/>
            <a:ext cx="4835181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5520051" y="313014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17968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6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C97CB9-66EA-48D7-824F-3A78AA19154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235985" y="1913736"/>
            <a:ext cx="5214301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6553200" y="1596043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Альтернатива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38200" y="1539318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55E4B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Исключенные из ФПУ учебники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955E4B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7" y="1919553"/>
            <a:ext cx="3883542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577659" y="202315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235985" y="2507790"/>
            <a:ext cx="5214301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177" y="4099374"/>
            <a:ext cx="3883542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577659" y="4132593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5235985" y="4135043"/>
            <a:ext cx="5214301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235985" y="4729097"/>
            <a:ext cx="5214301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347566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6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C97CB9-66EA-48D7-824F-3A78AA19154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78377" y="1913735"/>
            <a:ext cx="5617933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7612476" y="1541042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Альтернатива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361389" y="1522714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55E4B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Исключенные из ФПУ учебники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955E4B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6" y="1919552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5520051" y="2023157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178377" y="2507789"/>
            <a:ext cx="5617933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176" y="3096929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5520051" y="313014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11176" y="4274306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5520051" y="4307525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33611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7775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6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C97CB9-66EA-48D7-824F-3A78AA19154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11174" y="3645930"/>
            <a:ext cx="4077301" cy="2076450"/>
          </a:xfrm>
          <a:solidFill>
            <a:srgbClr val="D2DA7A"/>
          </a:solidFill>
        </p:spPr>
        <p:txBody>
          <a:bodyPr/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90183" y="3301524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Альтернатива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251431" y="1455966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55E4B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Исключенные из ФПУ учебники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955E4B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5" y="1919552"/>
            <a:ext cx="4077301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230458" y="3623803"/>
            <a:ext cx="3336894" cy="2076450"/>
          </a:xfrm>
          <a:solidFill>
            <a:srgbClr val="D2DA7A"/>
          </a:solidFill>
        </p:spPr>
        <p:txBody>
          <a:bodyPr/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4909466" y="3279397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Альтернатива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4970714" y="1433839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55E4B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Исключенные из ФПУ учебники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955E4B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230458" y="1919551"/>
            <a:ext cx="6780310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8673874" y="3605052"/>
            <a:ext cx="3336894" cy="2076450"/>
          </a:xfrm>
          <a:solidFill>
            <a:srgbClr val="D2DA7A"/>
          </a:solidFill>
        </p:spPr>
        <p:txBody>
          <a:bodyPr/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2209800" y="260291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7124502" y="2605770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9982200" y="260291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45529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666695" y="1842479"/>
            <a:ext cx="4193629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6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C97CB9-66EA-48D7-824F-3A78AA19154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274389" y="2873525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Альтернатива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356768" y="1418411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55E4B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Исключенные из ФПУ учебники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955E4B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2521194" y="2711971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66695" y="3359312"/>
            <a:ext cx="4193629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66695" y="3953366"/>
            <a:ext cx="4193629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6513785" y="1816734"/>
            <a:ext cx="4193629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8368284" y="2686226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513785" y="3333567"/>
            <a:ext cx="4193629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6513785" y="3927621"/>
            <a:ext cx="4193629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57911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666695" y="1842479"/>
            <a:ext cx="10223726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6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C97CB9-66EA-48D7-824F-3A78AA19154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348530" y="3104600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Альтернатива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348530" y="1485176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55E4B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Исключенные из ФПУ учебники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955E4B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0111" y="3393628"/>
            <a:ext cx="3336894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153660" y="2631209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553527" y="3389851"/>
            <a:ext cx="3336894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2105240" y="2608464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8979658" y="2633719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41353" y="3389851"/>
            <a:ext cx="3336894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03436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DD8C35-D9BB-4137-AEED-01AC3E9DE2A3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96650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9C6133-F034-4DD0-BF67-FDED45B853E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09615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906162"/>
            <a:ext cx="10515600" cy="1150594"/>
          </a:xfrm>
        </p:spPr>
        <p:txBody>
          <a:bodyPr/>
          <a:lstStyle>
            <a:lvl1pPr>
              <a:defRPr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2076579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907957"/>
            <a:ext cx="5157787" cy="3281706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0612" y="2044400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907957"/>
            <a:ext cx="5183188" cy="3281706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9404CF-8095-4C47-8748-564FA4DA46EB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68360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C0C82C-38B5-4045-8425-418947FAA324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72397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4D4BE-5229-4142-8404-F4DD584635F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831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037967"/>
            <a:ext cx="3932237" cy="1373659"/>
          </a:xfrm>
        </p:spPr>
        <p:txBody>
          <a:bodyPr anchor="b"/>
          <a:lstStyle>
            <a:lvl1pPr>
              <a:defRPr sz="2000">
                <a:solidFill>
                  <a:srgbClr val="345DAE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1600" y="1341652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2411627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0F717A-07E6-4F87-BDD6-799B6A37DD0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59310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987424"/>
            <a:ext cx="3932237" cy="1514817"/>
          </a:xfrm>
        </p:spPr>
        <p:txBody>
          <a:bodyPr anchor="b"/>
          <a:lstStyle>
            <a:lvl1pPr>
              <a:defRPr sz="1800">
                <a:solidFill>
                  <a:srgbClr val="345DAE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487826"/>
            <a:ext cx="3932237" cy="338116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22B5B7-2C55-49C5-941B-A73D7940582B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89952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4656181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4A39B8-7846-4A17-9ED9-307F813F0300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74124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8A39CD-F620-4CF4-B7F0-A59BB89B7D4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43573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5924339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Линия"/>
          <p:cNvSpPr/>
          <p:nvPr/>
        </p:nvSpPr>
        <p:spPr>
          <a:xfrm flipH="1">
            <a:off x="6055025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Линия"/>
          <p:cNvSpPr/>
          <p:nvPr/>
        </p:nvSpPr>
        <p:spPr>
          <a:xfrm flipH="1">
            <a:off x="6010376" y="880580"/>
            <a:ext cx="21263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Линия"/>
          <p:cNvSpPr/>
          <p:nvPr/>
        </p:nvSpPr>
        <p:spPr>
          <a:xfrm>
            <a:off x="5776306" y="1279922"/>
            <a:ext cx="639390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asted-image.tiff" descr="pasted-image.tiff"/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/>
          </a:blip>
          <a:srcRect l="39743" r="39743" b="36077"/>
          <a:stretch>
            <a:fillRect/>
          </a:stretch>
        </p:blipFill>
        <p:spPr>
          <a:xfrm>
            <a:off x="11771619" y="1"/>
            <a:ext cx="318781" cy="3334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="" xmlns:p14="http://schemas.microsoft.com/office/powerpoint/2010/main" val="1865401793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7663" y="6377941"/>
            <a:ext cx="3903683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949" y="6377941"/>
            <a:ext cx="280577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976473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rgbClr val="29479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D5EA3D-460D-4B2E-9F65-C0D556FB740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09333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6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C97CB9-66EA-48D7-824F-3A78AA19154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73539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6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C97CB9-66EA-48D7-824F-3A78AA19154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78377" y="1913735"/>
            <a:ext cx="5617933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7552395" y="1519717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Альтернатива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275199" y="1497049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55E4B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Исключенные из ФПУ учебники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955E4B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6" y="1919552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5520051" y="2023157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178377" y="2507789"/>
            <a:ext cx="5617933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797035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6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C97CB9-66EA-48D7-824F-3A78AA19154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78377" y="1913735"/>
            <a:ext cx="5617933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7467600" y="1563144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Альтернатива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149965" y="1538161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55E4B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Исключенные из ФПУ учебники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955E4B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6" y="1919553"/>
            <a:ext cx="4835181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5520051" y="2023157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178377" y="2507789"/>
            <a:ext cx="5617933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176" y="3096930"/>
            <a:ext cx="4835181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5520051" y="313014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28058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6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C97CB9-66EA-48D7-824F-3A78AA19154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235985" y="1913736"/>
            <a:ext cx="5214301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6553200" y="1596043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Альтернатива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38200" y="1539318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55E4B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Исключенные из ФПУ учебники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955E4B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7" y="1919553"/>
            <a:ext cx="3883542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577659" y="202315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235985" y="2507790"/>
            <a:ext cx="5214301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177" y="4099374"/>
            <a:ext cx="3883542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577659" y="4132593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5235985" y="4135043"/>
            <a:ext cx="5214301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235985" y="4729097"/>
            <a:ext cx="5214301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37457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6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C97CB9-66EA-48D7-824F-3A78AA19154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78377" y="1913735"/>
            <a:ext cx="5617933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7612476" y="1541042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Альтернатива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361389" y="1522714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55E4B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Исключенные из ФПУ учебники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955E4B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6" y="1919552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5520051" y="2023157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178377" y="2507789"/>
            <a:ext cx="5617933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176" y="3096929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5520051" y="313014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11176" y="4274306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5520051" y="4307525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99664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4948370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6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C97CB9-66EA-48D7-824F-3A78AA19154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11174" y="3645930"/>
            <a:ext cx="4077301" cy="2076450"/>
          </a:xfrm>
          <a:solidFill>
            <a:srgbClr val="D2DA7A"/>
          </a:solidFill>
        </p:spPr>
        <p:txBody>
          <a:bodyPr/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90183" y="3301524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Альтернатива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251431" y="1455966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55E4B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Исключенные из ФПУ учебники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955E4B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5" y="1919552"/>
            <a:ext cx="4077301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230458" y="3623803"/>
            <a:ext cx="3336894" cy="2076450"/>
          </a:xfrm>
          <a:solidFill>
            <a:srgbClr val="D2DA7A"/>
          </a:solidFill>
        </p:spPr>
        <p:txBody>
          <a:bodyPr/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4909466" y="3279397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Альтернатива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4970714" y="1433839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55E4B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Исключенные из ФПУ учебники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955E4B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230458" y="1919551"/>
            <a:ext cx="6780310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8673874" y="3605052"/>
            <a:ext cx="3336894" cy="2076450"/>
          </a:xfrm>
          <a:solidFill>
            <a:srgbClr val="D2DA7A"/>
          </a:solidFill>
        </p:spPr>
        <p:txBody>
          <a:bodyPr/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2209800" y="260291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7124502" y="2605770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9982200" y="260291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80848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666695" y="1842479"/>
            <a:ext cx="4193629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6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C97CB9-66EA-48D7-824F-3A78AA19154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274389" y="2873525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Альтернатива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356768" y="1418411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55E4B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Исключенные из ФПУ учебники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955E4B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2521194" y="2711971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66695" y="3359312"/>
            <a:ext cx="4193629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66695" y="3953366"/>
            <a:ext cx="4193629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6513785" y="1816734"/>
            <a:ext cx="4193629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8368284" y="2686226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513785" y="3333567"/>
            <a:ext cx="4193629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6513785" y="3927621"/>
            <a:ext cx="4193629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985514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666695" y="1842479"/>
            <a:ext cx="10223726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6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C97CB9-66EA-48D7-824F-3A78AA19154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348530" y="3104600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Альтернатива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348530" y="1485176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55E4B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Исключенные из ФПУ учебники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955E4B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0111" y="3393628"/>
            <a:ext cx="3336894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153660" y="2631209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553527" y="3389851"/>
            <a:ext cx="3336894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2105240" y="2608464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8979658" y="2633719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41353" y="3389851"/>
            <a:ext cx="3336894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225020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DD8C35-D9BB-4137-AEED-01AC3E9DE2A3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16979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9C6133-F034-4DD0-BF67-FDED45B853E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27539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906162"/>
            <a:ext cx="10515600" cy="1150594"/>
          </a:xfrm>
        </p:spPr>
        <p:txBody>
          <a:bodyPr/>
          <a:lstStyle>
            <a:lvl1pPr>
              <a:defRPr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2076579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907957"/>
            <a:ext cx="5157787" cy="3281706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0612" y="2044400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907957"/>
            <a:ext cx="5183188" cy="3281706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9404CF-8095-4C47-8748-564FA4DA46EB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02341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C0C82C-38B5-4045-8425-418947FAA324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22527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4D4BE-5229-4142-8404-F4DD584635F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03295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037967"/>
            <a:ext cx="3932237" cy="1373659"/>
          </a:xfrm>
        </p:spPr>
        <p:txBody>
          <a:bodyPr anchor="b"/>
          <a:lstStyle>
            <a:lvl1pPr>
              <a:defRPr sz="2000">
                <a:solidFill>
                  <a:srgbClr val="345DAE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1600" y="1341652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2411627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0F717A-07E6-4F87-BDD6-799B6A37DD0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04658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987424"/>
            <a:ext cx="3932237" cy="1514817"/>
          </a:xfrm>
        </p:spPr>
        <p:txBody>
          <a:bodyPr anchor="b"/>
          <a:lstStyle>
            <a:lvl1pPr>
              <a:defRPr sz="1800">
                <a:solidFill>
                  <a:srgbClr val="345DAE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487826"/>
            <a:ext cx="3932237" cy="338116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22B5B7-2C55-49C5-941B-A73D7940582B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16588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70082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4A39B8-7846-4A17-9ED9-307F813F0300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23102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8A39CD-F620-4CF4-B7F0-A59BB89B7D4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10524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5924339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Линия"/>
          <p:cNvSpPr/>
          <p:nvPr/>
        </p:nvSpPr>
        <p:spPr>
          <a:xfrm flipH="1">
            <a:off x="6055025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Линия"/>
          <p:cNvSpPr/>
          <p:nvPr/>
        </p:nvSpPr>
        <p:spPr>
          <a:xfrm flipH="1">
            <a:off x="6010376" y="880580"/>
            <a:ext cx="21263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Линия"/>
          <p:cNvSpPr/>
          <p:nvPr/>
        </p:nvSpPr>
        <p:spPr>
          <a:xfrm>
            <a:off x="5776306" y="1279922"/>
            <a:ext cx="639390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asted-image.tiff" descr="pasted-image.tiff"/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/>
          </a:blip>
          <a:srcRect l="39743" r="39743" b="36077"/>
          <a:stretch>
            <a:fillRect/>
          </a:stretch>
        </p:blipFill>
        <p:spPr>
          <a:xfrm>
            <a:off x="11771619" y="1"/>
            <a:ext cx="318781" cy="3334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="" xmlns:p14="http://schemas.microsoft.com/office/powerpoint/2010/main" val="983290775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7663" y="6377941"/>
            <a:ext cx="3903683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949" y="6377941"/>
            <a:ext cx="280577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301210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0B3465-6BC1-4C5A-8672-039A31808E6C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9F17DE-9CE0-4913-884A-357EC79CAB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446957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0B3465-6BC1-4C5A-8672-039A31808E6C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9F17DE-9CE0-4913-884A-357EC79CAB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0023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0B3465-6BC1-4C5A-8672-039A31808E6C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9F17DE-9CE0-4913-884A-357EC79CAB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5901238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0B3465-6BC1-4C5A-8672-039A31808E6C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9F17DE-9CE0-4913-884A-357EC79CAB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6471325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0B3465-6BC1-4C5A-8672-039A31808E6C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9F17DE-9CE0-4913-884A-357EC79CAB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779127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0B3465-6BC1-4C5A-8672-039A31808E6C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9F17DE-9CE0-4913-884A-357EC79CAB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477024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08495662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0B3465-6BC1-4C5A-8672-039A31808E6C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9F17DE-9CE0-4913-884A-357EC79CAB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9398438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0B3465-6BC1-4C5A-8672-039A31808E6C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9F17DE-9CE0-4913-884A-357EC79CAB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550253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0B3465-6BC1-4C5A-8672-039A31808E6C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9F17DE-9CE0-4913-884A-357EC79CAB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252656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0B3465-6BC1-4C5A-8672-039A31808E6C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9F17DE-9CE0-4913-884A-357EC79CAB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6756148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0B3465-6BC1-4C5A-8672-039A31808E6C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9F17DE-9CE0-4913-884A-357EC79CAB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719169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791720" y="541356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667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823720" y="1010678"/>
            <a:ext cx="54864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4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36B7D2-B98C-44FD-8D04-7EC62A564975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44829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047484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4220438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6082273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030291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81173648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387604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9589458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2618435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529689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878893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952703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27249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6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37" name="Слайд think-cell" r:id="rId17" imgW="360" imgH="360" progId="">
              <p:embed/>
            </p:oleObj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09800" y="132416"/>
            <a:ext cx="10515600" cy="8174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5400" spc="-40" dirty="0" smtClean="0">
                <a:solidFill>
                  <a:srgbClr val="294790"/>
                </a:solidFill>
                <a:cs typeface="Arial" pitchFamily="34" charset="0"/>
              </a:rPr>
              <a:t>ОБРАЗЕЦ ЗАГОЛОВКА</a:t>
            </a:r>
            <a:endParaRPr lang="ru-RU" sz="4400" spc="-40" dirty="0">
              <a:solidFill>
                <a:srgbClr val="294790"/>
              </a:solidFill>
              <a:cs typeface="Arial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21AA2D-0A3F-40EE-83D9-2939D34AA38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337772" y="891636"/>
            <a:ext cx="11568478" cy="0"/>
          </a:xfrm>
          <a:prstGeom prst="line">
            <a:avLst/>
          </a:prstGeom>
          <a:ln w="19050"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 userDrawn="1"/>
        </p:nvSpPr>
        <p:spPr>
          <a:xfrm>
            <a:off x="337772" y="0"/>
            <a:ext cx="1833928" cy="891636"/>
          </a:xfrm>
          <a:prstGeom prst="rect">
            <a:avLst/>
          </a:prstGeom>
          <a:solidFill>
            <a:srgbClr val="2947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2" descr="C:\Users\akladova\Desktop\logo_prosveschenie-01.png"/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836" y="229525"/>
            <a:ext cx="1447800" cy="59686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472911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1" kern="1200">
          <a:solidFill>
            <a:srgbClr val="955E4B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rgbClr val="955E4B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1" kern="1200">
          <a:solidFill>
            <a:srgbClr val="955E4B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955E4B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955E4B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09800" y="132416"/>
            <a:ext cx="10515600" cy="8174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5400" spc="-40" dirty="0" smtClean="0">
                <a:solidFill>
                  <a:srgbClr val="294790"/>
                </a:solidFill>
                <a:cs typeface="Arial" pitchFamily="34" charset="0"/>
              </a:rPr>
              <a:t>ОБРАЗЕЦ ЗАГОЛОВКА</a:t>
            </a:r>
            <a:endParaRPr lang="ru-RU" sz="4400" spc="-40" dirty="0">
              <a:solidFill>
                <a:srgbClr val="294790"/>
              </a:solidFill>
              <a:cs typeface="Arial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21AA2D-0A3F-40EE-83D9-2939D34AA38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337772" y="891636"/>
            <a:ext cx="11568478" cy="0"/>
          </a:xfrm>
          <a:prstGeom prst="line">
            <a:avLst/>
          </a:prstGeom>
          <a:ln w="19050"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 userDrawn="1"/>
        </p:nvSpPr>
        <p:spPr>
          <a:xfrm>
            <a:off x="337772" y="0"/>
            <a:ext cx="1833928" cy="891636"/>
          </a:xfrm>
          <a:prstGeom prst="rect">
            <a:avLst/>
          </a:prstGeom>
          <a:solidFill>
            <a:srgbClr val="2947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2" descr="C:\Users\akladova\Desktop\logo_prosveschenie-01.png"/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836" y="229525"/>
            <a:ext cx="1447800" cy="59686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926280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1" kern="1200">
          <a:solidFill>
            <a:srgbClr val="955E4B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rgbClr val="955E4B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1" kern="1200">
          <a:solidFill>
            <a:srgbClr val="955E4B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955E4B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955E4B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0B3465-6BC1-4C5A-8672-039A31808E6C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9F17DE-9CE0-4913-884A-357EC79CAB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10014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9884" name="Слайд think-cell" r:id="rId15" imgW="360" imgH="360" progId="">
              <p:embed/>
            </p:oleObj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11734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9.png"/><Relationship Id="rId5" Type="http://schemas.openxmlformats.org/officeDocument/2006/relationships/image" Target="../media/image26.png"/><Relationship Id="rId10" Type="http://schemas.openxmlformats.org/officeDocument/2006/relationships/image" Target="../media/image30.png"/><Relationship Id="rId4" Type="http://schemas.openxmlformats.org/officeDocument/2006/relationships/image" Target="../media/image25.png"/><Relationship Id="rId9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1.png"/><Relationship Id="rId5" Type="http://schemas.openxmlformats.org/officeDocument/2006/relationships/image" Target="../media/image9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13" Type="http://schemas.openxmlformats.org/officeDocument/2006/relationships/image" Target="../media/image42.jpe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36.jpeg"/><Relationship Id="rId12" Type="http://schemas.openxmlformats.org/officeDocument/2006/relationships/image" Target="../media/image41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5.jpeg"/><Relationship Id="rId11" Type="http://schemas.openxmlformats.org/officeDocument/2006/relationships/image" Target="../media/image40.jpeg"/><Relationship Id="rId5" Type="http://schemas.openxmlformats.org/officeDocument/2006/relationships/image" Target="../media/image9.png"/><Relationship Id="rId10" Type="http://schemas.openxmlformats.org/officeDocument/2006/relationships/image" Target="../media/image39.jpe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fioco.ru/Contents/Item/Display/2201978" TargetMode="External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hyperlink" Target="https://edu.gov.ru/national-project/" TargetMode="External"/><Relationship Id="rId4" Type="http://schemas.openxmlformats.org/officeDocument/2006/relationships/oleObject" Target="../embeddings/oleObject4.bin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48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7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7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5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70.png"/><Relationship Id="rId7" Type="http://schemas.openxmlformats.org/officeDocument/2006/relationships/image" Target="../media/image7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Relationship Id="rId9" Type="http://schemas.openxmlformats.org/officeDocument/2006/relationships/image" Target="../media/image79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4.png"/><Relationship Id="rId5" Type="http://schemas.openxmlformats.org/officeDocument/2006/relationships/image" Target="../media/image93.jpeg"/><Relationship Id="rId4" Type="http://schemas.openxmlformats.org/officeDocument/2006/relationships/oleObject" Target="../embeddings/oleObject12.bin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jpe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97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9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14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png"/><Relationship Id="rId5" Type="http://schemas.openxmlformats.org/officeDocument/2006/relationships/image" Target="../media/image99.png"/><Relationship Id="rId4" Type="http://schemas.openxmlformats.org/officeDocument/2006/relationships/oleObject" Target="../embeddings/oleObject15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1.jpeg"/><Relationship Id="rId5" Type="http://schemas.openxmlformats.org/officeDocument/2006/relationships/image" Target="../media/image100.png"/><Relationship Id="rId4" Type="http://schemas.openxmlformats.org/officeDocument/2006/relationships/oleObject" Target="../embeddings/oleObject16.bin"/></Relationships>
</file>

<file path=ppt/slides/_rels/slide4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2.svg"/><Relationship Id="rId18" Type="http://schemas.openxmlformats.org/officeDocument/2006/relationships/diagramData" Target="../diagrams/data1.xml"/><Relationship Id="rId26" Type="http://schemas.openxmlformats.org/officeDocument/2006/relationships/diagramColors" Target="../diagrams/colors2.xml"/><Relationship Id="rId3" Type="http://schemas.openxmlformats.org/officeDocument/2006/relationships/notesSlide" Target="../notesSlides/notesSlide25.xml"/><Relationship Id="rId21" Type="http://schemas.openxmlformats.org/officeDocument/2006/relationships/diagramColors" Target="../diagrams/colors1.xml"/><Relationship Id="rId17" Type="http://schemas.openxmlformats.org/officeDocument/2006/relationships/image" Target="../media/image104.jpeg"/><Relationship Id="rId25" Type="http://schemas.openxmlformats.org/officeDocument/2006/relationships/diagramQuickStyle" Target="../diagrams/quickStyle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03.png"/><Relationship Id="rId20" Type="http://schemas.openxmlformats.org/officeDocument/2006/relationships/diagramQuickStyle" Target="../diagrams/quickStyle1.xml"/><Relationship Id="rId1" Type="http://schemas.openxmlformats.org/officeDocument/2006/relationships/vmlDrawing" Target="../drawings/vmlDrawing17.vml"/><Relationship Id="rId24" Type="http://schemas.openxmlformats.org/officeDocument/2006/relationships/diagramLayout" Target="../diagrams/layout2.xml"/><Relationship Id="rId5" Type="http://schemas.openxmlformats.org/officeDocument/2006/relationships/image" Target="../media/image102.png"/><Relationship Id="rId15" Type="http://schemas.openxmlformats.org/officeDocument/2006/relationships/image" Target="../media/image16.svg"/><Relationship Id="rId23" Type="http://schemas.openxmlformats.org/officeDocument/2006/relationships/diagramData" Target="../diagrams/data2.xml"/><Relationship Id="rId28" Type="http://schemas.openxmlformats.org/officeDocument/2006/relationships/image" Target="../media/image107.png"/><Relationship Id="rId19" Type="http://schemas.openxmlformats.org/officeDocument/2006/relationships/diagramLayout" Target="../diagrams/layout1.xml"/><Relationship Id="rId4" Type="http://schemas.openxmlformats.org/officeDocument/2006/relationships/oleObject" Target="../embeddings/oleObject17.bin"/><Relationship Id="rId22" Type="http://schemas.microsoft.com/office/2007/relationships/diagramDrawing" Target="../diagrams/drawing1.xml"/><Relationship Id="rId27" Type="http://schemas.microsoft.com/office/2007/relationships/diagramDrawing" Target="../diagrams/drawing2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image" Target="../media/image108.png"/><Relationship Id="rId7" Type="http://schemas.openxmlformats.org/officeDocument/2006/relationships/image" Target="../media/image111.gi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shop.prosv.ru/formirovanie-funkcionalnoj-gramotnosti-sbornik-zadach-po-russkomu-yazyku-dlya-8-11-klassov2781" TargetMode="External"/><Relationship Id="rId11" Type="http://schemas.openxmlformats.org/officeDocument/2006/relationships/image" Target="../media/image9.png"/><Relationship Id="rId5" Type="http://schemas.openxmlformats.org/officeDocument/2006/relationships/image" Target="../media/image110.jpeg"/><Relationship Id="rId10" Type="http://schemas.openxmlformats.org/officeDocument/2006/relationships/image" Target="../media/image114.png"/><Relationship Id="rId4" Type="http://schemas.openxmlformats.org/officeDocument/2006/relationships/image" Target="../media/image109.png"/><Relationship Id="rId9" Type="http://schemas.openxmlformats.org/officeDocument/2006/relationships/image" Target="../media/image1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prosv.ru/" TargetMode="Externa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1.gif"/><Relationship Id="rId5" Type="http://schemas.openxmlformats.org/officeDocument/2006/relationships/hyperlink" Target="https://shop.prosv.ru/formirovanie-funkcionalnoj-gramotnosti-sbornik-zadach-po-russkomu-yazyku-dlya-8-11-klassov2781" TargetMode="External"/><Relationship Id="rId4" Type="http://schemas.openxmlformats.org/officeDocument/2006/relationships/hyperlink" Target="mailto:vopros@prosv.ru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6.vml"/><Relationship Id="rId11" Type="http://schemas.openxmlformats.org/officeDocument/2006/relationships/image" Target="../media/image9.png"/><Relationship Id="rId5" Type="http://schemas.openxmlformats.org/officeDocument/2006/relationships/image" Target="../media/image12.jpeg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png"/><Relationship Id="rId5" Type="http://schemas.openxmlformats.org/officeDocument/2006/relationships/image" Target="../media/image9.png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5839"/>
          <a:stretch/>
        </p:blipFill>
        <p:spPr>
          <a:xfrm>
            <a:off x="-7293" y="14514"/>
            <a:ext cx="12199293" cy="6843486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117970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470" name="Слайд think-cell" r:id="rId6" imgW="360" imgH="360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-7293" y="14514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84116" y="4634394"/>
            <a:ext cx="10216392" cy="292388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УППА </a:t>
            </a:r>
            <a:r>
              <a:rPr lang="ru-RU" sz="20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МПАНИЙ «ПРОСВЕЩЕНИЕ» —</a:t>
            </a:r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20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ИСТЕМЕ ОБРАЗОВАНИЯ</a:t>
            </a:r>
            <a:endParaRPr lang="ru-RU" sz="20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73668" y="1567301"/>
            <a:ext cx="9400304" cy="2769989"/>
          </a:xfrm>
        </p:spPr>
        <p:txBody>
          <a:bodyPr wrap="squar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45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Функциональная грамотность </a:t>
            </a:r>
            <a:r>
              <a:rPr lang="ru-RU" sz="4500" b="1" dirty="0" smtClean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школьников</a:t>
            </a:r>
            <a:endParaRPr lang="en-US" sz="4500" b="1" dirty="0" smtClean="0">
              <a:solidFill>
                <a:schemeClr val="bg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4500" b="1" dirty="0" smtClean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как </a:t>
            </a:r>
            <a:r>
              <a:rPr lang="ru-RU" sz="45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актуальный результат образования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13721" y="5897480"/>
            <a:ext cx="699787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в корпоративных сетях, а также запись в память ЭВМ, для частного или публичного использования, без письменного разрешения владельца авторских прав. © АО «Издательство «Просвещение», </a:t>
            </a:r>
            <a:r>
              <a:rPr lang="ru-RU" sz="800" dirty="0" smtClean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0</a:t>
            </a:r>
            <a:endParaRPr lang="ru-RU" sz="8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2451" name="Picture 403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011689"/>
              </a:clrFrom>
              <a:clrTo>
                <a:srgbClr val="011689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984" y="14514"/>
            <a:ext cx="2961171" cy="134421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938970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/>
          <p:cNvSpPr txBox="1"/>
          <p:nvPr/>
        </p:nvSpPr>
        <p:spPr>
          <a:xfrm>
            <a:off x="497323" y="470893"/>
            <a:ext cx="981378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труктура измерительных материалов 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ISA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АО «Издательство «Просвещение» 2019</a:t>
            </a:r>
          </a:p>
        </p:txBody>
      </p:sp>
      <p:cxnSp>
        <p:nvCxnSpPr>
          <p:cNvPr id="33" name="Прямая соединительная линия 3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5" name="Диаграмма 54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596831503"/>
              </p:ext>
            </p:extLst>
          </p:nvPr>
        </p:nvGraphicFramePr>
        <p:xfrm>
          <a:off x="1595320" y="1400043"/>
          <a:ext cx="8201522" cy="5433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8" name="Прямоугольник 47"/>
          <p:cNvSpPr/>
          <p:nvPr/>
        </p:nvSpPr>
        <p:spPr>
          <a:xfrm>
            <a:off x="3318288" y="2146575"/>
            <a:ext cx="2445471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реативное </a:t>
            </a:r>
          </a:p>
          <a:p>
            <a:pPr lvl="0" algn="ctr"/>
            <a:r>
              <a:rPr lang="ru-RU" sz="1600" b="1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ышление</a:t>
            </a:r>
          </a:p>
          <a:p>
            <a:pPr algn="ctr"/>
            <a:endParaRPr lang="ru-RU" sz="800" b="1" dirty="0">
              <a:solidFill>
                <a:schemeClr val="bg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Разрешение  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облем</a:t>
            </a:r>
          </a:p>
          <a:p>
            <a:pPr algn="ctr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Глобальные </a:t>
            </a:r>
          </a:p>
          <a:p>
            <a:pPr algn="ctr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омпетенции 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5739146" y="2331241"/>
            <a:ext cx="1770787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Читательская </a:t>
            </a:r>
          </a:p>
          <a:p>
            <a:pPr algn="ctr"/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грамотность</a:t>
            </a:r>
          </a:p>
          <a:p>
            <a:pPr algn="ctr"/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2009, 2018, 2027</a:t>
            </a:r>
          </a:p>
        </p:txBody>
      </p:sp>
      <p:sp>
        <p:nvSpPr>
          <p:cNvPr id="54" name="Стрелка: пятиугольник 27">
            <a:extLst>
              <a:ext uri="{FF2B5EF4-FFF2-40B4-BE49-F238E27FC236}">
                <a16:creationId xmlns="" xmlns:a16="http://schemas.microsoft.com/office/drawing/2014/main" id="{39050F66-3963-498A-9692-341E39573DA0}"/>
              </a:ext>
            </a:extLst>
          </p:cNvPr>
          <p:cNvSpPr/>
          <p:nvPr/>
        </p:nvSpPr>
        <p:spPr>
          <a:xfrm>
            <a:off x="381000" y="1770009"/>
            <a:ext cx="3598333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едущий компонент в 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2021 г. 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Стрелка: пятиугольник 27">
            <a:extLst>
              <a:ext uri="{FF2B5EF4-FFF2-40B4-BE49-F238E27FC236}">
                <a16:creationId xmlns="" xmlns:a16="http://schemas.microsoft.com/office/drawing/2014/main" id="{39050F66-3963-498A-9692-341E39573DA0}"/>
              </a:ext>
            </a:extLst>
          </p:cNvPr>
          <p:cNvSpPr/>
          <p:nvPr/>
        </p:nvSpPr>
        <p:spPr>
          <a:xfrm>
            <a:off x="186267" y="4388947"/>
            <a:ext cx="3364379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едущий компонент в 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2024 г.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Участвуют сегодняшние 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ятиклассники</a:t>
            </a:r>
          </a:p>
        </p:txBody>
      </p:sp>
      <p:sp>
        <p:nvSpPr>
          <p:cNvPr id="49" name="Стрелка: пятиугольник 27">
            <a:extLst>
              <a:ext uri="{FF2B5EF4-FFF2-40B4-BE49-F238E27FC236}">
                <a16:creationId xmlns="" xmlns:a16="http://schemas.microsoft.com/office/drawing/2014/main" id="{39050F66-3963-498A-9692-341E39573DA0}"/>
              </a:ext>
            </a:extLst>
          </p:cNvPr>
          <p:cNvSpPr/>
          <p:nvPr/>
        </p:nvSpPr>
        <p:spPr>
          <a:xfrm flipH="1">
            <a:off x="8176049" y="3939779"/>
            <a:ext cx="3881582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едущий компонент в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2021 </a:t>
            </a:r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г. Участвуют сегодняшние 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осьмиклассники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2971847" y="4075194"/>
            <a:ext cx="27183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Естественно–научная</a:t>
            </a:r>
          </a:p>
          <a:p>
            <a:pPr algn="ctr"/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грамотность</a:t>
            </a:r>
          </a:p>
          <a:p>
            <a:pPr algn="ctr"/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2006, 2015, 2024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121400" y="4042203"/>
            <a:ext cx="1916785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атематическая</a:t>
            </a:r>
          </a:p>
          <a:p>
            <a:pPr algn="ctr"/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грамотность</a:t>
            </a:r>
          </a:p>
          <a:p>
            <a:pPr algn="ctr"/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2003, 2012, 2021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758204" y="5370885"/>
            <a:ext cx="20111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Финансовая</a:t>
            </a:r>
          </a:p>
          <a:p>
            <a:pPr lvl="0" algn="ctr"/>
            <a:r>
              <a:rPr lang="ru-RU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грамотност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0</a:t>
            </a:fld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899473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Овал 108"/>
          <p:cNvSpPr/>
          <p:nvPr/>
        </p:nvSpPr>
        <p:spPr>
          <a:xfrm>
            <a:off x="4805220" y="2126610"/>
            <a:ext cx="2991124" cy="2778873"/>
          </a:xfrm>
          <a:prstGeom prst="ellipse">
            <a:avLst/>
          </a:prstGeom>
          <a:solidFill>
            <a:srgbClr val="2F5597">
              <a:alpha val="96000"/>
            </a:srgbClr>
          </a:solidFill>
          <a:ln w="25400">
            <a:solidFill>
              <a:srgbClr val="2F5597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sp>
        <p:nvSpPr>
          <p:cNvPr id="44" name="TextBox 43"/>
          <p:cNvSpPr txBox="1"/>
          <p:nvPr/>
        </p:nvSpPr>
        <p:spPr>
          <a:xfrm>
            <a:off x="457684" y="253431"/>
            <a:ext cx="11100211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Концептуальная рамка оценки функциональной грамотности в исследовании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ISA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57" name="Овал 56"/>
          <p:cNvSpPr/>
          <p:nvPr/>
        </p:nvSpPr>
        <p:spPr>
          <a:xfrm>
            <a:off x="5827817" y="3600004"/>
            <a:ext cx="3156890" cy="2938390"/>
          </a:xfrm>
          <a:prstGeom prst="ellipse">
            <a:avLst/>
          </a:prstGeom>
          <a:solidFill>
            <a:srgbClr val="D64214">
              <a:alpha val="89804"/>
            </a:srgbClr>
          </a:solidFill>
          <a:ln w="38100">
            <a:solidFill>
              <a:srgbClr val="D64214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cxnSp>
        <p:nvCxnSpPr>
          <p:cNvPr id="5" name="Прямая со стрелкой 4"/>
          <p:cNvCxnSpPr/>
          <p:nvPr/>
        </p:nvCxnSpPr>
        <p:spPr>
          <a:xfrm flipH="1" flipV="1">
            <a:off x="3119576" y="2729537"/>
            <a:ext cx="1160970" cy="14265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 flipH="1" flipV="1">
            <a:off x="2958947" y="3553301"/>
            <a:ext cx="1321599" cy="5850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 flipH="1">
            <a:off x="3235308" y="4164372"/>
            <a:ext cx="1045238" cy="664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/>
          <p:cNvSpPr/>
          <p:nvPr/>
        </p:nvSpPr>
        <p:spPr>
          <a:xfrm>
            <a:off x="8194040" y="2695555"/>
            <a:ext cx="1660137" cy="4535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Разделы математики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9868401" y="3387612"/>
            <a:ext cx="2130457" cy="606646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Цели чтения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934161" y="5211912"/>
            <a:ext cx="2207370" cy="1001726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оровье</a:t>
            </a: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ресурсы</a:t>
            </a:r>
          </a:p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ружающая </a:t>
            </a: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а,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язь науки и технологии</a:t>
            </a:r>
          </a:p>
        </p:txBody>
      </p:sp>
      <p:cxnSp>
        <p:nvCxnSpPr>
          <p:cNvPr id="24" name="Прямая со стрелкой 23"/>
          <p:cNvCxnSpPr/>
          <p:nvPr/>
        </p:nvCxnSpPr>
        <p:spPr>
          <a:xfrm flipV="1">
            <a:off x="7406262" y="1990709"/>
            <a:ext cx="1432134" cy="5361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 стрелкой 69"/>
          <p:cNvCxnSpPr/>
          <p:nvPr/>
        </p:nvCxnSpPr>
        <p:spPr>
          <a:xfrm flipV="1">
            <a:off x="7406262" y="2370726"/>
            <a:ext cx="2527899" cy="1561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 стрелкой 71"/>
          <p:cNvCxnSpPr>
            <a:endCxn id="66" idx="1"/>
          </p:cNvCxnSpPr>
          <p:nvPr/>
        </p:nvCxnSpPr>
        <p:spPr>
          <a:xfrm>
            <a:off x="7371221" y="2522051"/>
            <a:ext cx="822819" cy="400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 стрелкой 73"/>
          <p:cNvCxnSpPr>
            <a:stCxn id="57" idx="6"/>
            <a:endCxn id="67" idx="1"/>
          </p:cNvCxnSpPr>
          <p:nvPr/>
        </p:nvCxnSpPr>
        <p:spPr>
          <a:xfrm flipV="1">
            <a:off x="8984707" y="3690935"/>
            <a:ext cx="883694" cy="13782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/>
          <p:cNvCxnSpPr>
            <a:stCxn id="57" idx="6"/>
            <a:endCxn id="69" idx="1"/>
          </p:cNvCxnSpPr>
          <p:nvPr/>
        </p:nvCxnSpPr>
        <p:spPr>
          <a:xfrm>
            <a:off x="8984707" y="5069199"/>
            <a:ext cx="949454" cy="6435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 стрелкой 77"/>
          <p:cNvCxnSpPr>
            <a:stCxn id="57" idx="6"/>
          </p:cNvCxnSpPr>
          <p:nvPr/>
        </p:nvCxnSpPr>
        <p:spPr>
          <a:xfrm flipV="1">
            <a:off x="8984707" y="4716688"/>
            <a:ext cx="883694" cy="3525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Прямоугольник 82"/>
          <p:cNvSpPr/>
          <p:nvPr/>
        </p:nvSpPr>
        <p:spPr>
          <a:xfrm>
            <a:off x="803216" y="4246071"/>
            <a:ext cx="2965710" cy="1353439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давать научные объяснения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именять естественно-научные методы исследования,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нтерпретировать данные,  делать выводы</a:t>
            </a:r>
          </a:p>
          <a:p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168000" y="2603157"/>
            <a:ext cx="24172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одержательная </a:t>
            </a:r>
          </a:p>
          <a:p>
            <a:pPr lvl="0"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одель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7036532" y="4733990"/>
            <a:ext cx="1917320" cy="707886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онтексты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ли ситуации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1046129" y="1380496"/>
            <a:ext cx="2612901" cy="1353439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Работать с информацией:</a:t>
            </a:r>
          </a:p>
          <a:p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indent="57150">
              <a:buFont typeface="Arial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находить и извлекать,</a:t>
            </a:r>
          </a:p>
          <a:p>
            <a:pPr indent="57150">
              <a:buFont typeface="Arial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смысливать и оценивать,</a:t>
            </a:r>
          </a:p>
          <a:p>
            <a:pPr indent="57150">
              <a:buFont typeface="Arial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нтерпретировать</a:t>
            </a:r>
          </a:p>
        </p:txBody>
      </p:sp>
      <p:sp>
        <p:nvSpPr>
          <p:cNvPr id="104" name="Прямоугольник 103"/>
          <p:cNvSpPr/>
          <p:nvPr/>
        </p:nvSpPr>
        <p:spPr>
          <a:xfrm>
            <a:off x="9954231" y="2011914"/>
            <a:ext cx="1945670" cy="71762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Естественно-научные предметы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етодология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342884" y="2836458"/>
            <a:ext cx="2612901" cy="13534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Формулировать, применять интерпретировать и оценивать результаты с позиций математики и реальной проблемы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9908438" y="4082877"/>
            <a:ext cx="2127295" cy="99544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ир индивидуума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, социума,</a:t>
            </a:r>
          </a:p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образования и науки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8233338" y="1537144"/>
            <a:ext cx="1660137" cy="453565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Типы текста</a:t>
            </a:r>
          </a:p>
        </p:txBody>
      </p:sp>
      <p:sp>
        <p:nvSpPr>
          <p:cNvPr id="47" name="Овал 46"/>
          <p:cNvSpPr/>
          <p:nvPr/>
        </p:nvSpPr>
        <p:spPr>
          <a:xfrm>
            <a:off x="3931206" y="3650370"/>
            <a:ext cx="3083631" cy="2905326"/>
          </a:xfrm>
          <a:prstGeom prst="ellipse">
            <a:avLst/>
          </a:prstGeom>
          <a:solidFill>
            <a:srgbClr val="ED7D31">
              <a:alpha val="88000"/>
            </a:srgbClr>
          </a:solidFill>
          <a:ln w="25400">
            <a:solidFill>
              <a:srgbClr val="ED7D3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sp>
      <p:sp>
        <p:nvSpPr>
          <p:cNvPr id="61" name="Прямоугольник 60"/>
          <p:cNvSpPr/>
          <p:nvPr/>
        </p:nvSpPr>
        <p:spPr>
          <a:xfrm>
            <a:off x="4072138" y="4779868"/>
            <a:ext cx="255172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омпетентностная</a:t>
            </a:r>
          </a:p>
          <a:p>
            <a:pPr lvl="0"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модель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5604438" y="4212850"/>
            <a:ext cx="16716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БЛОК 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ЗАДАНИЙ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59109" y="6136062"/>
            <a:ext cx="281826" cy="221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40935" y="6170055"/>
            <a:ext cx="283002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Естественно–научная грамотность</a:t>
            </a:r>
            <a:endParaRPr lang="ru-RU" sz="900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359109" y="6406912"/>
            <a:ext cx="281826" cy="22279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59110" y="5870444"/>
            <a:ext cx="281826" cy="215768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624672" y="5886822"/>
            <a:ext cx="283002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Читательская грамотность</a:t>
            </a:r>
            <a:endParaRPr lang="ru-RU" sz="900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640934" y="6406911"/>
            <a:ext cx="283002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 грамотность</a:t>
            </a:r>
            <a:endParaRPr lang="ru-RU" sz="9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tx2"/>
                </a:solidFill>
              </a:rPr>
              <a:pPr/>
              <a:t>11</a:t>
            </a:fld>
            <a:endParaRPr lang="ru-RU" dirty="0">
              <a:solidFill>
                <a:schemeClr val="tx2"/>
              </a:solidFill>
            </a:endParaRPr>
          </a:p>
        </p:txBody>
      </p:sp>
      <p:pic>
        <p:nvPicPr>
          <p:cNvPr id="52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617791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489537" y="340218"/>
            <a:ext cx="1093867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Формируем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ф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ункциональную грамотность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Подзаголовок 2"/>
          <p:cNvSpPr txBox="1">
            <a:spLocks/>
          </p:cNvSpPr>
          <p:nvPr/>
        </p:nvSpPr>
        <p:spPr>
          <a:xfrm>
            <a:off x="315303" y="2781971"/>
            <a:ext cx="6257228" cy="29392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оздание учебных ситуаций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, инициирующих  учебную деятельность  учащихся, мотивирующих их на учебную деятельность и  проясняющих смыслы этой деятельности</a:t>
            </a:r>
          </a:p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учение в общении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, или </a:t>
            </a:r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учебное сотрудничество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, задания на работу в парах и малых группах</a:t>
            </a:r>
          </a:p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оисковая активность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- задания поискового характера, учебные исследования, проекты</a:t>
            </a:r>
          </a:p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b="1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ценочная </a:t>
            </a:r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амостоятельность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школьников, задания на само- и </a:t>
            </a:r>
            <a:r>
              <a:rPr lang="ru-RU" sz="1600" dirty="0" err="1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заимооценку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: 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иобретение опыта </a:t>
            </a:r>
            <a:r>
              <a:rPr lang="ru-RU" sz="1600" b="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– 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ейсы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, ролевые игры, 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диспуты, требующие разрешения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облем, 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инятия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решений, 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озитивного поведения</a:t>
            </a:r>
            <a:endParaRPr lang="ru-RU" sz="1600" b="0" dirty="0" smtClean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483215" y="1667221"/>
            <a:ext cx="5934677" cy="72846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ru-R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ые педагогические практики:</a:t>
            </a:r>
            <a:endParaRPr lang="en-US" sz="20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6562" name="Picture 2" descr="http://www.tutor4life.com/wp-content/uploads/2014/09/bigstock-Teacher-Giving-Personal-Instru-3917759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9788" y="1667221"/>
            <a:ext cx="3093244" cy="20621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566" name="Picture 6" descr="https://d2ikzglg0h-flywheel.netdna-ssl.com/wp-content/uploads/2019/06/mision-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9788" y="4449925"/>
            <a:ext cx="3093244" cy="206216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564" name="Picture 4" descr="https://versiya.info/uploads/posts/2018-08/1533101005_y3wxit1ur8dc6xgyykmfmokbd6xgyykmfmokc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859391" y="3251647"/>
            <a:ext cx="3093244" cy="2137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Прямая соединительная линия 24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2</a:t>
            </a:fld>
            <a:endParaRPr lang="ru-RU" dirty="0"/>
          </a:p>
        </p:txBody>
      </p:sp>
      <p:pic>
        <p:nvPicPr>
          <p:cNvPr id="26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630092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2AD04C8F-AB05-4497-BFF1-6646C2966162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0908" name="Слайд think-cell" r:id="rId4" imgW="360" imgH="360" progId="">
              <p:embed/>
            </p:oleObj>
          </a:graphicData>
        </a:graphic>
      </p:graphicFrame>
      <p:sp>
        <p:nvSpPr>
          <p:cNvPr id="31" name="Rectangle 2"/>
          <p:cNvSpPr>
            <a:spLocks noChangeArrowheads="1"/>
          </p:cNvSpPr>
          <p:nvPr/>
        </p:nvSpPr>
        <p:spPr bwMode="auto">
          <a:xfrm>
            <a:off x="-203640" y="-11486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4" name="Прямоугольник 93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3" y="6651117"/>
            <a:ext cx="70252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О «Издательство «Просвещение» 2020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321571" y="234735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ТУАЦИОННОСТЬ ЗАДАНИЙ. ПРИМЕРЫ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424" name="Picture 4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7042" y="1028804"/>
            <a:ext cx="8953950" cy="5365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790241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0424" y="3968678"/>
            <a:ext cx="1698454" cy="2342267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68626" y="2212552"/>
            <a:ext cx="2266748" cy="3057800"/>
          </a:xfrm>
          <a:prstGeom prst="rect">
            <a:avLst/>
          </a:prstGeom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9714" name="Слайд think-cell" r:id="rId6" imgW="360" imgH="360" progId="">
              <p:embed/>
            </p:oleObj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37546" y="205617"/>
            <a:ext cx="10363967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ия «ФГОС: Оценка образовательных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стижений»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483215" y="1464526"/>
            <a:ext cx="11396616" cy="72846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 рук. Г.С. Ковалевой, кандидата педагогических наук, руководителя Центра оценки качества образования Института стратегии развития образования Российской академии наук, эксперта международного класса </a:t>
            </a:r>
          </a:p>
        </p:txBody>
      </p:sp>
      <p:sp>
        <p:nvSpPr>
          <p:cNvPr id="42" name="Содержимое 17"/>
          <p:cNvSpPr txBox="1">
            <a:spLocks/>
          </p:cNvSpPr>
          <p:nvPr/>
        </p:nvSpPr>
        <p:spPr>
          <a:xfrm>
            <a:off x="6632336" y="2535798"/>
            <a:ext cx="5261145" cy="3706575"/>
          </a:xfrm>
          <a:prstGeom prst="rect">
            <a:avLst/>
          </a:prstGeom>
        </p:spPr>
        <p:txBody>
          <a:bodyPr vert="horz" lIns="42844" tIns="42844" rIns="42844" bIns="42844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ценка читательской грамотности 5 – 9 классы. 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b="1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4 варианта тестов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, в каждом из которых даются тексты по 4 предметным областям (математике, русскому языку, естественно-научным предметам и общественно-научным предметам) с заданиями к ним.</a:t>
            </a:r>
          </a:p>
          <a:p>
            <a:pPr marL="285750" indent="-285750" algn="l">
              <a:spcAft>
                <a:spcPts val="600"/>
              </a:spcAft>
            </a:pPr>
            <a:r>
              <a:rPr lang="ru-RU" sz="1600" b="1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     Для проведения </a:t>
            </a:r>
            <a:r>
              <a:rPr lang="ru-RU" sz="1600" b="1" dirty="0" err="1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нутришкольного</a:t>
            </a:r>
            <a:r>
              <a:rPr lang="ru-RU" sz="1600" b="1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мониторинга в 5 – 9 классах:</a:t>
            </a:r>
          </a:p>
          <a:p>
            <a:pPr marL="285750" lvl="1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ежегодно,</a:t>
            </a:r>
          </a:p>
          <a:p>
            <a:pPr marL="285750" lvl="1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2 раза в год (входная и итоговая диагностика),</a:t>
            </a:r>
          </a:p>
          <a:p>
            <a:pPr marL="285750" lvl="1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о четвертям с изменением предметной области.</a:t>
            </a:r>
            <a:endParaRPr lang="ru-RU" sz="1600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44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1387" y="2379543"/>
            <a:ext cx="1725695" cy="2379916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8" name="Picture 158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30" y="3844183"/>
            <a:ext cx="1768537" cy="249919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27" name="Прямая соединительная линия 2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5760" y="2379543"/>
            <a:ext cx="1619559" cy="253849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7373" y="3844183"/>
            <a:ext cx="1596983" cy="2499190"/>
          </a:xfrm>
          <a:prstGeom prst="rect">
            <a:avLst/>
          </a:prstGeom>
        </p:spPr>
      </p:pic>
      <p:sp>
        <p:nvSpPr>
          <p:cNvPr id="2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CB9B150-16F9-4654-A9FF-3F04349E5D0B}" type="slidenum">
              <a:rPr lang="ru-RU" smtClean="0"/>
              <a:pPr/>
              <a:t>14</a:t>
            </a:fld>
            <a:endParaRPr lang="ru-RU" dirty="0"/>
          </a:p>
        </p:txBody>
      </p:sp>
      <p:pic>
        <p:nvPicPr>
          <p:cNvPr id="30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026566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0739" name="Слайд think-cell" r:id="rId4" imgW="360" imgH="360" progId="">
              <p:embed/>
            </p:oleObj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01201" y="180576"/>
            <a:ext cx="9286612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. </a:t>
            </a:r>
            <a:endParaRPr lang="ru-RU" sz="32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Тренажёры»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1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F7FC2986-4132-4116-842E-EB7D4972ED67}"/>
              </a:ext>
            </a:extLst>
          </p:cNvPr>
          <p:cNvSpPr txBox="1"/>
          <p:nvPr/>
        </p:nvSpPr>
        <p:spPr>
          <a:xfrm>
            <a:off x="483215" y="1441364"/>
            <a:ext cx="10527505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Функциональная грамотность. Тренажеры 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7264695" y="2193892"/>
            <a:ext cx="2619062" cy="64899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товятся к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чати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в декабре 2019 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71" y="2256237"/>
            <a:ext cx="2437674" cy="341274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36" name="Содержимое 17"/>
          <p:cNvSpPr txBox="1">
            <a:spLocks/>
          </p:cNvSpPr>
          <p:nvPr/>
        </p:nvSpPr>
        <p:spPr>
          <a:xfrm>
            <a:off x="3016103" y="2256237"/>
            <a:ext cx="4158420" cy="3822830"/>
          </a:xfrm>
          <a:prstGeom prst="rect">
            <a:avLst/>
          </a:prstGeom>
        </p:spPr>
        <p:txBody>
          <a:bodyPr vert="horz" lIns="42844" tIns="42844" rIns="42844" bIns="42844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dirty="0">
                <a:solidFill>
                  <a:prstClr val="black"/>
                </a:solidFill>
                <a:latin typeface="Open Sans Light"/>
              </a:rPr>
              <a:t>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dirty="0">
                <a:solidFill>
                  <a:prstClr val="black"/>
                </a:solidFill>
                <a:latin typeface="Open Sans Light"/>
              </a:rPr>
              <a:t>Содержат разнообразные практико-ориентированные задания, позволяющие школьникам подготовиться к участию в международных исследованиях качества образования. Приведены примеры их решений и ответы. 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dirty="0">
                <a:solidFill>
                  <a:prstClr val="black"/>
                </a:solidFill>
                <a:latin typeface="Open Sans Light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образования.</a:t>
            </a:r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59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3362" t="16566" r="2049" b="9345"/>
          <a:stretch/>
        </p:blipFill>
        <p:spPr bwMode="auto">
          <a:xfrm>
            <a:off x="7264695" y="2977697"/>
            <a:ext cx="2333112" cy="3101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2" name="Picture 6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2255" t="16099" r="1764" b="7965"/>
          <a:stretch/>
        </p:blipFill>
        <p:spPr bwMode="auto">
          <a:xfrm>
            <a:off x="9873032" y="3877734"/>
            <a:ext cx="1748704" cy="2310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" name="Picture 24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2754" t="16276" r="1966" b="8531"/>
          <a:stretch/>
        </p:blipFill>
        <p:spPr bwMode="auto">
          <a:xfrm>
            <a:off x="10747384" y="2144641"/>
            <a:ext cx="1254132" cy="166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4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3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12634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5853" name="Слайд think-cell" r:id="rId4" imgW="360" imgH="360" progId="">
              <p:embed/>
            </p:oleObj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436562" y="255926"/>
            <a:ext cx="9734154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.</a:t>
            </a:r>
          </a:p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Учимся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для жизни» 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DA2D9AC4-09ED-41C8-9B7E-ABA991EBB706}"/>
              </a:ext>
            </a:extLst>
          </p:cNvPr>
          <p:cNvSpPr txBox="1"/>
          <p:nvPr/>
        </p:nvSpPr>
        <p:spPr>
          <a:xfrm>
            <a:off x="436562" y="1414362"/>
            <a:ext cx="10411314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борники эталонных изданий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5642219" y="2201718"/>
            <a:ext cx="6497436" cy="4493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b="1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едназначены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для 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формирования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 оценки всех аспектов функциональной грамотности, которые изучаются в международном сравнительном исследовании PISA.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одержат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бучающие и тренировочные задания, охватывающие все содержательные и </a:t>
            </a:r>
            <a:r>
              <a:rPr lang="ru-RU" sz="1600" dirty="0" err="1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омпетентностые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аспекты оценки функциональной грамотности по каждой из областей. Приводятся развернутые описания особенностей оценки заданий, рекомендации по использованию системы заданий и их оценки. Все задания построены на основе реальных жизненных ситуаций.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огут быть использованы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 обучающих целях педагогами на уроках и во внеурочной деятельности, а также администрацией школы для организации </a:t>
            </a:r>
            <a:r>
              <a:rPr lang="ru-RU" sz="1600" dirty="0" err="1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нутришкольного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мониторинга по оценке функциональной грамотности учащихся 5 и 7 классов.</a:t>
            </a:r>
          </a:p>
          <a:p>
            <a:pPr>
              <a:spcBef>
                <a:spcPts val="1200"/>
              </a:spcBef>
            </a:pPr>
            <a:endParaRPr lang="ru-RU" sz="1600" b="1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/>
          <p:cNvSpPr/>
          <p:nvPr/>
        </p:nvSpPr>
        <p:spPr>
          <a:xfrm>
            <a:off x="730627" y="5437824"/>
            <a:ext cx="2073041" cy="864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Готовятся к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печати</a:t>
            </a:r>
          </a:p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в феврале 2020 года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6</a:t>
            </a:r>
            <a:endParaRPr lang="ru-RU" dirty="0"/>
          </a:p>
        </p:txBody>
      </p:sp>
      <p:pic>
        <p:nvPicPr>
          <p:cNvPr id="32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497" y="4430000"/>
            <a:ext cx="1449015" cy="19124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1953" y="2198863"/>
            <a:ext cx="1556354" cy="20540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3035" y="2141577"/>
            <a:ext cx="1629015" cy="21499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8216" y="4473621"/>
            <a:ext cx="1434413" cy="18931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2543" y="4495325"/>
            <a:ext cx="1408486" cy="18589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5344" y="4486653"/>
            <a:ext cx="1436059" cy="18953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326" y="2196446"/>
            <a:ext cx="1519798" cy="20058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867" y="2185339"/>
            <a:ext cx="1553801" cy="20506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3999047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42900" y="980986"/>
            <a:ext cx="11591798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нцепция направления «математическая грамотность» исследования PISA-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сследование PISA-2021 проверит математическую грамотность российских школьников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050" name="Picture 2" descr="https://fioco.ru/Media/Default/Pictures/%D0%B4%D0%BB%D1%8F%20%D0%BD%D0%BE%D0%B2%D0%BE%D1%81%D1%82%D0%B5%D0%B9/12344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837"/>
          <a:stretch/>
        </p:blipFill>
        <p:spPr bwMode="auto">
          <a:xfrm>
            <a:off x="7035827" y="1658094"/>
            <a:ext cx="5013171" cy="500940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33375" y="1891516"/>
            <a:ext cx="672452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рамках исследования PISA-2021 будет использоваться следующее определение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тематическая грамотность – это способность человека мыслить математически, формулировать, применять и интерпретировать математику для решения задач в разнообразных практических контекстах. Она включает в себя понятия, процедуры и факты, а также инструменты для описания, объяснения и предсказания явлений. Она помогает людям понять роль математики в мире, высказывать хорошо обоснованные суждения и принимать решения, которые должны принимать конструктивные, активные и размышляющие граждане в 21 веке»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634379" y="6174343"/>
            <a:ext cx="531106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hlinkClick r:id="rId3"/>
              </a:rPr>
              <a:t>https://fioco.ru/Contents/Item/Display/2201978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7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807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ЖДУНАРОДНАЯ ОЦЕНКА КАЧЕСТВА ОБРАЗОВАНИЯ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963428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ЖДУНАРОДНАЯ ОЦЕНКА КАЧЕСТВА ОБРАЗОВАНИЯ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342900" y="990600"/>
            <a:ext cx="11591798" cy="1000125"/>
          </a:xfrm>
        </p:spPr>
        <p:txBody>
          <a:bodyPr>
            <a:normAutofit/>
          </a:bodyPr>
          <a:lstStyle/>
          <a:p>
            <a:pPr marL="54864" algn="ctr" eaLnBrk="1" fontAlgn="auto" hangingPunct="1">
              <a:spcAft>
                <a:spcPts val="0"/>
              </a:spcAft>
              <a:defRPr/>
            </a:pPr>
            <a:r>
              <a:rPr lang="ru-RU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 математической грамотности. </a:t>
            </a:r>
            <a:r>
              <a:rPr lang="en-US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3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print"/>
          <a:srcRect t="15981"/>
          <a:stretch/>
        </p:blipFill>
        <p:spPr>
          <a:xfrm>
            <a:off x="511505" y="2251880"/>
            <a:ext cx="11254588" cy="3525530"/>
          </a:xfrm>
          <a:prstGeom prst="rect">
            <a:avLst/>
          </a:prstGeom>
        </p:spPr>
      </p:pic>
      <p:pic>
        <p:nvPicPr>
          <p:cNvPr id="6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175147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247775" y="1989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ЖДУНАРОДНАЯ ОЦЕНКА КАЧЕСТВА ОБРАЗОВАНИЯ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546595" y="1125349"/>
            <a:ext cx="410766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нтекст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ы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заданий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19099" y="2228672"/>
            <a:ext cx="1143952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 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ставлении заданий используются 4 категории контекстов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0" indent="-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ичная 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изнь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0" indent="-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разование/профессиональная 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0" indent="-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щественная жизнь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0" indent="-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учная 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ru-RU" alt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27270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3596" name="Слайд think-cell" r:id="rId4" imgW="360" imgH="360" progId="">
              <p:embed/>
            </p:oleObj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2020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54967" y="408729"/>
            <a:ext cx="938981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НАЦИОНАЛЬНЫЙ ПРОЕКТ 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«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ОБРАЗОВАНИЕ»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04589" y="5957790"/>
            <a:ext cx="548881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роки реализации: 01.01.2019 - 31.12.2024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11667" y="1461011"/>
            <a:ext cx="6929107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Национальный проект «Образование»</a:t>
            </a:r>
            <a:r>
              <a:rPr lang="ru-RU" sz="20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 – это инициатива, направленная на достижение двух ключевых </a:t>
            </a:r>
            <a:r>
              <a:rPr lang="ru-RU" sz="20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целей*. </a:t>
            </a:r>
            <a:endParaRPr lang="ru-RU" sz="2000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беспечение </a:t>
            </a:r>
            <a:r>
              <a:rPr lang="ru-RU" sz="20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глобальной конкурентоспособности российского образования и вхождение Российской Федерации в число 10 ведущих стран мира по качеству общего образования. </a:t>
            </a:r>
          </a:p>
          <a:p>
            <a:endParaRPr lang="en-US" sz="2000" dirty="0" smtClean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оспитание </a:t>
            </a:r>
            <a:r>
              <a:rPr lang="ru-RU" sz="20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гармонично развитой и социально ответственной личности на основе духовно-нравственных ценностей народов Российской Федерации, исторических и национально-культурных традиций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496406" y="6524185"/>
            <a:ext cx="195598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>
                <a:solidFill>
                  <a:schemeClr val="bg1">
                    <a:lumMod val="65000"/>
                  </a:schemeClr>
                </a:solidFill>
                <a:hlinkClick r:id="rId5"/>
              </a:rPr>
              <a:t>*</a:t>
            </a:r>
            <a:r>
              <a:rPr lang="en-US" sz="900" dirty="0">
                <a:solidFill>
                  <a:schemeClr val="bg1">
                    <a:lumMod val="65000"/>
                  </a:schemeClr>
                </a:solidFill>
                <a:hlinkClick r:id="rId5"/>
              </a:rPr>
              <a:t>https://edu.gov.ru/national-project/</a:t>
            </a:r>
            <a:endParaRPr lang="ru-RU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pic>
        <p:nvPicPr>
          <p:cNvPr id="63546" name="Picture 58" descr="base-valu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7232" y="1324864"/>
            <a:ext cx="2792599" cy="164714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548" name="Picture 60" descr="base-valu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0774" y="3107805"/>
            <a:ext cx="2694160" cy="158908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550" name="Picture 62" descr="base-valu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0456" y="4841901"/>
            <a:ext cx="2686840" cy="158476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</a:t>
            </a:fld>
            <a:endParaRPr lang="ru-RU" dirty="0"/>
          </a:p>
        </p:txBody>
      </p:sp>
      <p:pic>
        <p:nvPicPr>
          <p:cNvPr id="63577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714367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247775" y="1989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ЖДУНАРОДНАЯ ОЦЕНКА КАЧЕСТВА ОБРАЗОВАНИЯ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65440" y="1120638"/>
            <a:ext cx="609666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тематическое содержание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19099" y="2228672"/>
            <a:ext cx="1143952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странство и форма,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0" indent="-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зменение и зависимост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0" indent="-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личество,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0" indent="-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определенность и данные.</a:t>
            </a:r>
            <a:endParaRPr kumimoji="0" lang="ru-RU" alt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706437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247775" y="1989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ЖДУНАРОДНАЯ ОЦЕНКА КАЧЕСТВА ОБРАЗОВАНИЯ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65440" y="1120638"/>
            <a:ext cx="648914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знавательная деятельность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19099" y="2228672"/>
            <a:ext cx="1143952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ормулировать,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0" indent="-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менять,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0" indent="-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терпретировать.</a:t>
            </a:r>
            <a:endParaRPr kumimoji="0" lang="ru-RU" alt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004636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ЖДУНАРОДНАЯ ОЦЕНКА КАЧЕСТВА ОБРАЗОВАНИЯ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95199" y="1016901"/>
            <a:ext cx="4600059" cy="5701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170158" y="1016900"/>
            <a:ext cx="4648526" cy="5701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3272433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1"/>
          <p:cNvSpPr txBox="1">
            <a:spLocks/>
          </p:cNvSpPr>
          <p:nvPr/>
        </p:nvSpPr>
        <p:spPr>
          <a:xfrm>
            <a:off x="1828800" y="88812"/>
            <a:ext cx="8469085" cy="587548"/>
          </a:xfrm>
          <a:prstGeom prst="rect">
            <a:avLst/>
          </a:prstGeom>
          <a:solidFill>
            <a:srgbClr val="003366"/>
          </a:solidFill>
          <a:ln>
            <a:solidFill>
              <a:srgbClr val="003366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0" i="0" u="none" strike="noStrike" kern="1200" cap="none" spc="0" normalizeH="0" baseline="0" noProof="0" dirty="0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002060"/>
                </a:solidFill>
                <a:effectLst>
                  <a:outerShdw blurRad="50800" algn="tl" rotWithShape="0">
                    <a:srgbClr val="000000"/>
                  </a:outerShdw>
                </a:effectLst>
                <a:uLnTx/>
                <a:uFillTx/>
                <a:latin typeface="Calibri Light"/>
                <a:ea typeface="+mj-ea"/>
                <a:cs typeface="MS PGothic" charset="0"/>
              </a:rPr>
              <a:t>Что такое естественнонаучная грамотность?</a:t>
            </a:r>
            <a:endParaRPr kumimoji="0" lang="uk-UA" sz="3000" b="0" i="0" u="none" strike="noStrike" kern="1200" cap="none" spc="0" normalizeH="0" baseline="0" noProof="0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solidFill>
                <a:srgbClr val="002060"/>
              </a:solidFill>
              <a:effectLst>
                <a:outerShdw blurRad="50800" algn="tl" rotWithShape="0">
                  <a:srgbClr val="000000"/>
                </a:outerShdw>
              </a:effectLst>
              <a:uLnTx/>
              <a:uFillTx/>
              <a:latin typeface="Calibri Light"/>
              <a:ea typeface="+mj-ea"/>
              <a:cs typeface="MS PGothic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20146" y="778791"/>
            <a:ext cx="9498767" cy="923307"/>
          </a:xfrm>
          <a:prstGeom prst="rect">
            <a:avLst/>
          </a:prstGeom>
        </p:spPr>
        <p:txBody>
          <a:bodyPr wrap="square" lIns="91419" tIns="45709" rIns="91419" bIns="45709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>
                    <a:alpha val="7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Естественнонаучная грамотность </a:t>
            </a: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– это способность человека занимать</a:t>
            </a: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 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активную гражданскую позицию</a:t>
            </a: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 </a:t>
            </a: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по вопросам, связанным с 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>
                    <a:alpha val="7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естественными науками</a:t>
            </a: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, и его 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готовность</a:t>
            </a: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 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интересоваться</a:t>
            </a: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 </a:t>
            </a: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естественнонаучными 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>
                    <a:alpha val="7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идеями</a:t>
            </a: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.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70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 Light" pitchFamily="34" charset="0"/>
              <a:ea typeface="Roboto Light" charset="0"/>
              <a:cs typeface="Calibri Light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62280" y="2981252"/>
            <a:ext cx="9157778" cy="1015640"/>
          </a:xfrm>
          <a:prstGeom prst="rect">
            <a:avLst/>
          </a:prstGeom>
        </p:spPr>
        <p:txBody>
          <a:bodyPr wrap="square" lIns="91419" tIns="45709" rIns="91419" bIns="45709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>
                    <a:alpha val="7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Естественнонаучно грамотный человек 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/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стремится </a:t>
            </a: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>
                    <a:alpha val="7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участвовать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/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 в аргументированном обсуждении проблем, относящихся к </a:t>
            </a: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>
                    <a:alpha val="7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естественным наукам и технологиям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/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, что требует от него следующих </a:t>
            </a: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>
                    <a:alpha val="7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компетентностей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/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: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362280" y="4438651"/>
            <a:ext cx="9523434" cy="1938970"/>
          </a:xfrm>
          <a:prstGeom prst="rect">
            <a:avLst/>
          </a:prstGeom>
        </p:spPr>
        <p:txBody>
          <a:bodyPr wrap="square" lIns="91419" tIns="45709" rIns="91419" bIns="45709">
            <a:spAutoFit/>
          </a:bodyPr>
          <a:lstStyle/>
          <a:p>
            <a:pPr marL="342819" marR="0" lvl="0" indent="-34281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>
                    <a:alpha val="7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научно</a:t>
            </a:r>
            <a:r>
              <a:rPr kumimoji="0" lang="ru-RU" alt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/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 объяснять явления;</a:t>
            </a:r>
          </a:p>
          <a:p>
            <a:pPr marL="342819" marR="0" lvl="0" indent="-34281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alt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/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понимать </a:t>
            </a:r>
            <a:r>
              <a:rPr kumimoji="0" lang="ru-RU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>
                    <a:alpha val="7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основные</a:t>
            </a:r>
            <a:r>
              <a:rPr kumimoji="0" lang="ru-RU" alt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/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 особенности  </a:t>
            </a:r>
            <a:r>
              <a:rPr kumimoji="0" lang="ru-RU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>
                    <a:alpha val="7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естественнонаучного исследования</a:t>
            </a:r>
            <a:r>
              <a:rPr kumimoji="0" lang="ru-RU" alt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/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;       </a:t>
            </a:r>
          </a:p>
          <a:p>
            <a:pPr marL="342819" marR="0" lvl="0" indent="-34281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alt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/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интерпретировать </a:t>
            </a:r>
            <a:r>
              <a:rPr kumimoji="0" lang="ru-RU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>
                    <a:alpha val="7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данные</a:t>
            </a:r>
            <a:r>
              <a:rPr kumimoji="0" lang="ru-RU" alt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/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 и использовать </a:t>
            </a:r>
            <a:r>
              <a:rPr kumimoji="0" lang="ru-RU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научные доказательства </a:t>
            </a:r>
            <a:r>
              <a:rPr kumimoji="0" lang="ru-RU" alt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0000"/>
                  </a:prstClr>
                </a:solidFill>
                <a:effectLst/>
                <a:uLnTx/>
                <a:uFillTx/>
                <a:latin typeface="Calibri Light" pitchFamily="34" charset="0"/>
                <a:ea typeface="Roboto Light" charset="0"/>
                <a:cs typeface="Calibri Light" pitchFamily="34" charset="0"/>
              </a:rPr>
              <a:t>для получения выводов.</a:t>
            </a:r>
          </a:p>
        </p:txBody>
      </p:sp>
      <p:cxnSp>
        <p:nvCxnSpPr>
          <p:cNvPr id="9" name="Straight Connector 17"/>
          <p:cNvCxnSpPr/>
          <p:nvPr/>
        </p:nvCxnSpPr>
        <p:spPr>
          <a:xfrm flipV="1">
            <a:off x="0" y="4355393"/>
            <a:ext cx="11593286" cy="8325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10628313" y="2642481"/>
            <a:ext cx="6350" cy="1712912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35119" b="76138"/>
          <a:stretch/>
        </p:blipFill>
        <p:spPr>
          <a:xfrm>
            <a:off x="0" y="2135608"/>
            <a:ext cx="11882338" cy="1013747"/>
          </a:xfrm>
          <a:prstGeom prst="rect">
            <a:avLst/>
          </a:prstGeom>
          <a:effectLst>
            <a:softEdge rad="317500"/>
          </a:effectLst>
        </p:spPr>
      </p:pic>
    </p:spTree>
    <p:extLst>
      <p:ext uri="{BB962C8B-B14F-4D97-AF65-F5344CB8AC3E}">
        <p14:creationId xmlns="" xmlns:p14="http://schemas.microsoft.com/office/powerpoint/2010/main" val="2091925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719943" y="0"/>
            <a:ext cx="8229600" cy="122396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j-ea"/>
                <a:cs typeface="+mj-cs"/>
              </a:rPr>
              <a:t>Естественнонаучная грамотность и ФГОС: противоречия нет!</a:t>
            </a:r>
            <a:r>
              <a:rPr kumimoji="0" lang="en-US" alt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j-ea"/>
                <a:cs typeface="+mj-cs"/>
              </a:rPr>
              <a:t>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55814" y="1414866"/>
            <a:ext cx="1115785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действительности ФГОС включает практически все умения, характеризующие естественнонаучную грамотность, но они «растворены» в Стандарте среди массы других предметных и метапредметных результатов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о само понятие «естественнонаучная грамотность» отсутствует в Стандарте и программах по естественнонаучным предметам. 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212771" y="3353858"/>
            <a:ext cx="4463143" cy="70788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  <a:sym typeface="Helvetica"/>
              </a:rPr>
              <a:t>ОСНОВНЫЕ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  <a:sym typeface="Helvetica"/>
              </a:rPr>
              <a:t> 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  <a:sym typeface="Helvetica"/>
              </a:rPr>
              <a:t>УМЕНИ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  <a:sym typeface="Helvetica"/>
              </a:rPr>
              <a:t>ЕСТЕСТВЕННО-НАУЧНОЙ 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  <a:sym typeface="Helvetica"/>
              </a:rPr>
              <a:t>ГРАМОТНОСТИ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Impact" panose="020B080603090205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394857" y="4841267"/>
            <a:ext cx="2199249" cy="507868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5100000">
              <a:rot lat="0" lon="2100000" rev="0"/>
            </a:camera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  <a:sym typeface="Helvetica"/>
              </a:rPr>
              <a:t>ОБЪЯСНЯТЬ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344717" y="4841265"/>
            <a:ext cx="2199249" cy="507868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5100000">
              <a:rot lat="0" lon="2100000" rev="0"/>
            </a:camera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  <a:sym typeface="Helvetica"/>
              </a:rPr>
              <a:t>ИССЛЕДОВАТЬ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8501408" y="4841265"/>
            <a:ext cx="2199249" cy="507868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5100000">
              <a:rot lat="0" lon="2100000" rev="0"/>
            </a:camera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  <a:sym typeface="Helvetica"/>
              </a:rPr>
              <a:t>АНАЛИЗИРОВАТЬ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212771" y="6000736"/>
            <a:ext cx="4458045" cy="517075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  <a:sym typeface="Helvetica"/>
              </a:rPr>
              <a:t>РЕАЛЬНАЯ ЖИЗНЕННАЯ СИТУАЦИЯ</a:t>
            </a:r>
          </a:p>
        </p:txBody>
      </p:sp>
      <p:cxnSp>
        <p:nvCxnSpPr>
          <p:cNvPr id="11" name="Прямая со стрелкой 10"/>
          <p:cNvCxnSpPr>
            <a:stCxn id="6" idx="2"/>
            <a:endCxn id="7" idx="0"/>
          </p:cNvCxnSpPr>
          <p:nvPr/>
        </p:nvCxnSpPr>
        <p:spPr>
          <a:xfrm flipH="1">
            <a:off x="3494482" y="4061744"/>
            <a:ext cx="2949861" cy="779523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>
            <a:stCxn id="6" idx="2"/>
            <a:endCxn id="8" idx="0"/>
          </p:cNvCxnSpPr>
          <p:nvPr/>
        </p:nvCxnSpPr>
        <p:spPr>
          <a:xfrm flipH="1">
            <a:off x="6444342" y="4061744"/>
            <a:ext cx="1" cy="779521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>
            <a:stCxn id="6" idx="2"/>
            <a:endCxn id="9" idx="0"/>
          </p:cNvCxnSpPr>
          <p:nvPr/>
        </p:nvCxnSpPr>
        <p:spPr>
          <a:xfrm>
            <a:off x="6444343" y="4061744"/>
            <a:ext cx="3156690" cy="779521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>
            <a:stCxn id="7" idx="2"/>
            <a:endCxn id="10" idx="0"/>
          </p:cNvCxnSpPr>
          <p:nvPr/>
        </p:nvCxnSpPr>
        <p:spPr>
          <a:xfrm>
            <a:off x="3494482" y="5349135"/>
            <a:ext cx="2947312" cy="651601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>
            <a:stCxn id="8" idx="2"/>
            <a:endCxn id="10" idx="0"/>
          </p:cNvCxnSpPr>
          <p:nvPr/>
        </p:nvCxnSpPr>
        <p:spPr>
          <a:xfrm flipH="1">
            <a:off x="6441794" y="5349133"/>
            <a:ext cx="2548" cy="651603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>
            <a:stCxn id="9" idx="2"/>
            <a:endCxn id="10" idx="0"/>
          </p:cNvCxnSpPr>
          <p:nvPr/>
        </p:nvCxnSpPr>
        <p:spPr>
          <a:xfrm flipH="1">
            <a:off x="6441794" y="5349133"/>
            <a:ext cx="3159239" cy="651603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798102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4" y="6651116"/>
            <a:ext cx="223871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"Просвещение"», 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10872"/>
            <a:ext cx="1196993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=""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=""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=""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=""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=""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=""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=""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=""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=""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=""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=""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=""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315304" y="78258"/>
            <a:ext cx="1009207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шаем задания вместе!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8716" y="5450787"/>
            <a:ext cx="56562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дание № 1 и задание № 2 относятся к группе заданий на объяснение явлений и фактов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82334" y="769892"/>
            <a:ext cx="5528981" cy="4781821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984965" y="680131"/>
            <a:ext cx="5462586" cy="3002530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248315" y="3405602"/>
            <a:ext cx="4935886" cy="324551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392626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4" y="6651116"/>
            <a:ext cx="223871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"Просвещение"», 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10872"/>
            <a:ext cx="1196993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=""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=""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=""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=""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=""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=""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=""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=""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=""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=""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=""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=""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315304" y="78258"/>
            <a:ext cx="1009207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шаем задания вместе!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531966" y="4972347"/>
            <a:ext cx="636151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дание № 3 относ</a:t>
            </a:r>
            <a:r>
              <a:rPr lang="ru-RU" sz="2400" b="1" dirty="0">
                <a:solidFill>
                  <a:srgbClr val="7D852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kumimoji="0" lang="ru-RU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7D852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ся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D852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к группе заданий на исследование</a:t>
            </a:r>
          </a:p>
          <a:p>
            <a:pPr lvl="0">
              <a:defRPr/>
            </a:pPr>
            <a:r>
              <a:rPr lang="ru-RU" sz="2400" b="1" dirty="0">
                <a:solidFill>
                  <a:srgbClr val="7D852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дание № </a:t>
            </a:r>
            <a:r>
              <a:rPr lang="ru-RU" sz="2400" b="1" dirty="0" smtClean="0">
                <a:solidFill>
                  <a:srgbClr val="7D852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4 </a:t>
            </a:r>
            <a:r>
              <a:rPr lang="ru-RU" sz="2400" b="1" dirty="0">
                <a:solidFill>
                  <a:srgbClr val="7D852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тносится к группе заданий на анализ данны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7D852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15304" y="689867"/>
            <a:ext cx="5029582" cy="35242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15304" y="4214075"/>
            <a:ext cx="5029582" cy="23396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570763" y="689867"/>
            <a:ext cx="5227865" cy="42034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1042834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ЕАТИВНОЕ МЫШЛЕНИЕ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27" y="1016901"/>
            <a:ext cx="3779786" cy="50464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extBox 2"/>
          <p:cNvSpPr txBox="1"/>
          <p:nvPr/>
        </p:nvSpPr>
        <p:spPr>
          <a:xfrm>
            <a:off x="4267200" y="1016901"/>
            <a:ext cx="37006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то такое креативность?</a:t>
            </a:r>
            <a:endParaRPr lang="ru-RU" sz="2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50229" y="165462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267200" y="1478566"/>
            <a:ext cx="766749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реативность </a:t>
            </a: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— это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ежде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сего способность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естандартно мыслить и оригинально выражать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вои идеи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, чувства, эмоции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267200" y="2200024"/>
            <a:ext cx="609600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ак и </a:t>
            </a:r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 чём проявляется креативность</a:t>
            </a:r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? </a:t>
            </a:r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(Как проверить и оценить?)</a:t>
            </a:r>
            <a:endParaRPr lang="ru-RU" sz="2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67200" y="2969465"/>
            <a:ext cx="70212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ыражать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деи и эмоции помогают устные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ысказывания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, написанный текст, рисунок, танец,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антомима,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елодия — всё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это </a:t>
            </a: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реативное 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амовыражение.</a:t>
            </a:r>
            <a:endParaRPr 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267200" y="3985128"/>
            <a:ext cx="7284962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. Задания на тексты и рисунки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(подписи к 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зображениям, лозунги, сюжеты и сценарии игр и рассказов, </a:t>
            </a:r>
            <a:r>
              <a:rPr lang="ru-RU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иалоги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, короткие истории, а также </a:t>
            </a:r>
            <a:r>
              <a:rPr lang="ru-RU" i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нфографика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, разного рода </a:t>
            </a:r>
            <a:r>
              <a:rPr lang="ru-RU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ллюстрации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, плакаты и другие </a:t>
            </a:r>
            <a:r>
              <a:rPr lang="ru-RU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зображения)</a:t>
            </a:r>
          </a:p>
          <a:p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. Решение различных проблем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6967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ЕАТИВНОЕ МЫШЛЕНИЕ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27" y="1072883"/>
            <a:ext cx="1513114" cy="20201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816554" y="1016901"/>
            <a:ext cx="4248150" cy="5486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424612" y="1016901"/>
            <a:ext cx="4181475" cy="5486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128457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ЕАТИВНОЕ МЫШЛЕНИЕ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27" y="1072883"/>
            <a:ext cx="1513114" cy="20201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104898" y="1016901"/>
            <a:ext cx="5036131" cy="53566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7336971" y="1164771"/>
            <a:ext cx="4597727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. Этап </a:t>
            </a:r>
            <a:r>
              <a:rPr lang="en-US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 Выдвижение идей</a:t>
            </a:r>
          </a:p>
          <a:p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ажно помнить, что всегда будут оцениваться только осмысленные</a:t>
            </a:r>
          </a:p>
          <a:p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 реалистичные идеи, причём имеющие непосредственное </a:t>
            </a:r>
            <a:r>
              <a:rPr lang="ru-RU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тношение к 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данию.</a:t>
            </a:r>
            <a:endParaRPr lang="ru-RU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. Этап </a:t>
            </a:r>
            <a:r>
              <a:rPr lang="en-US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II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 Оценка и отбор идей</a:t>
            </a:r>
          </a:p>
          <a:p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. Этап </a:t>
            </a:r>
            <a:r>
              <a:rPr lang="en-US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III: 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оработка и совершенствование идеи</a:t>
            </a:r>
          </a:p>
          <a:p>
            <a:endParaRPr 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58546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96176" y="365162"/>
            <a:ext cx="1152673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Единая система оценки качества образова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TextBox 41">
            <a:extLst>
              <a:ext uri="{FF2B5EF4-FFF2-40B4-BE49-F238E27FC236}">
                <a16:creationId xmlns="" xmlns:a16="http://schemas.microsoft.com/office/drawing/2014/main" id="{6A11E227-FD05-4E16-8900-13031C87BF42}"/>
              </a:ext>
            </a:extLst>
          </p:cNvPr>
          <p:cNvSpPr txBox="1"/>
          <p:nvPr/>
        </p:nvSpPr>
        <p:spPr>
          <a:xfrm>
            <a:off x="8480697" y="5685643"/>
            <a:ext cx="3540466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еждународные исследования</a:t>
            </a:r>
            <a:endParaRPr lang="ru-RU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784359" y="2902328"/>
            <a:ext cx="332827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Национальные исследования </a:t>
            </a:r>
            <a:endParaRPr lang="ru-RU" dirty="0" smtClean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ачества </a:t>
            </a:r>
            <a:r>
              <a:rPr lang="ru-RU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бразован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93542" y="3057010"/>
            <a:ext cx="262565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Государственная </a:t>
            </a:r>
            <a:endParaRPr lang="ru-RU" sz="2000" dirty="0" smtClean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0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тоговая </a:t>
            </a:r>
            <a:r>
              <a:rPr lang="ru-RU" sz="20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аттестац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96176" y="5429318"/>
            <a:ext cx="270804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сероссийские </a:t>
            </a:r>
            <a:endParaRPr lang="ru-RU" sz="2000" dirty="0" smtClean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0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оверочные </a:t>
            </a:r>
            <a:r>
              <a:rPr lang="ru-RU" sz="20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работы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309335" y="1282291"/>
            <a:ext cx="370050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бщероссийская оценка по модели </a:t>
            </a:r>
            <a:r>
              <a:rPr lang="ru-RU" sz="14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PISA</a:t>
            </a:r>
            <a:r>
              <a:rPr lang="en-US" sz="14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*</a:t>
            </a:r>
            <a:endParaRPr lang="ru-RU" sz="1400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605299" y="6622611"/>
            <a:ext cx="558889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*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каз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ИНПРОСВЕЩЕНИЯ N 219, РОСОБРНАДЗОРА приказ N 590, от 06.05.2019</a:t>
            </a:r>
          </a:p>
        </p:txBody>
      </p:sp>
      <p:sp>
        <p:nvSpPr>
          <p:cNvPr id="96" name="Прямоугольник 9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4" y="6651116"/>
            <a:ext cx="2101326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270253" y="2030438"/>
            <a:ext cx="1213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SA</a:t>
            </a:r>
            <a:endParaRPr lang="ru-RU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3516067" y="1272949"/>
            <a:ext cx="8983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FF0000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НОВОЕ!</a:t>
            </a:r>
            <a:endParaRPr lang="ru-RU" sz="1400" b="1" dirty="0">
              <a:solidFill>
                <a:srgbClr val="FF0000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3281123" y="1599044"/>
            <a:ext cx="5523490" cy="4537666"/>
            <a:chOff x="3281123" y="1599044"/>
            <a:chExt cx="5523490" cy="4537666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3333469" y="1599044"/>
              <a:ext cx="5450890" cy="4537666"/>
              <a:chOff x="3381956" y="1489057"/>
              <a:chExt cx="5450890" cy="4537666"/>
            </a:xfrm>
          </p:grpSpPr>
          <p:sp>
            <p:nvSpPr>
              <p:cNvPr id="87" name="Полилиния: фигура 81">
                <a:extLst>
                  <a:ext uri="{FF2B5EF4-FFF2-40B4-BE49-F238E27FC236}">
                    <a16:creationId xmlns="" xmlns:a16="http://schemas.microsoft.com/office/drawing/2014/main" id="{7E4E9A42-580C-41D5-8D94-84683A11A8C9}"/>
                  </a:ext>
                </a:extLst>
              </p:cNvPr>
              <p:cNvSpPr/>
              <p:nvPr/>
            </p:nvSpPr>
            <p:spPr>
              <a:xfrm>
                <a:off x="3381956" y="1490234"/>
                <a:ext cx="5450890" cy="4536489"/>
              </a:xfrm>
              <a:custGeom>
                <a:avLst/>
                <a:gdLst>
                  <a:gd name="connsiteX0" fmla="*/ 1239899 w 2487142"/>
                  <a:gd name="connsiteY0" fmla="*/ 337 h 2322329"/>
                  <a:gd name="connsiteX1" fmla="*/ 1507315 w 2487142"/>
                  <a:gd name="connsiteY1" fmla="*/ 197071 h 2322329"/>
                  <a:gd name="connsiteX2" fmla="*/ 1318646 w 2487142"/>
                  <a:gd name="connsiteY2" fmla="*/ 517080 h 2322329"/>
                  <a:gd name="connsiteX3" fmla="*/ 1318646 w 2487142"/>
                  <a:gd name="connsiteY3" fmla="*/ 895666 h 2322329"/>
                  <a:gd name="connsiteX4" fmla="*/ 1609891 w 2487142"/>
                  <a:gd name="connsiteY4" fmla="*/ 1097930 h 2322329"/>
                  <a:gd name="connsiteX5" fmla="*/ 1962538 w 2487142"/>
                  <a:gd name="connsiteY5" fmla="*/ 950500 h 2322329"/>
                  <a:gd name="connsiteX6" fmla="*/ 2121236 w 2487142"/>
                  <a:gd name="connsiteY6" fmla="*/ 672671 h 2322329"/>
                  <a:gd name="connsiteX7" fmla="*/ 2467867 w 2487142"/>
                  <a:gd name="connsiteY7" fmla="*/ 812594 h 2322329"/>
                  <a:gd name="connsiteX8" fmla="*/ 2325364 w 2487142"/>
                  <a:gd name="connsiteY8" fmla="*/ 1157361 h 2322329"/>
                  <a:gd name="connsiteX9" fmla="*/ 2016716 w 2487142"/>
                  <a:gd name="connsiteY9" fmla="*/ 1071990 h 2322329"/>
                  <a:gd name="connsiteX10" fmla="*/ 1655532 w 2487142"/>
                  <a:gd name="connsiteY10" fmla="*/ 1220404 h 2322329"/>
                  <a:gd name="connsiteX11" fmla="*/ 1663412 w 2487142"/>
                  <a:gd name="connsiteY11" fmla="*/ 1300193 h 2322329"/>
                  <a:gd name="connsiteX12" fmla="*/ 1580340 w 2487142"/>
                  <a:gd name="connsiteY12" fmla="*/ 1547111 h 2322329"/>
                  <a:gd name="connsiteX13" fmla="*/ 1864033 w 2487142"/>
                  <a:gd name="connsiteY13" fmla="*/ 1833760 h 2322329"/>
                  <a:gd name="connsiteX14" fmla="*/ 2185031 w 2487142"/>
                  <a:gd name="connsiteY14" fmla="*/ 1875105 h 2322329"/>
                  <a:gd name="connsiteX15" fmla="*/ 2182647 w 2487142"/>
                  <a:gd name="connsiteY15" fmla="*/ 2246580 h 2322329"/>
                  <a:gd name="connsiteX16" fmla="*/ 1811169 w 2487142"/>
                  <a:gd name="connsiteY16" fmla="*/ 2244196 h 2322329"/>
                  <a:gd name="connsiteX17" fmla="*/ 1771768 w 2487142"/>
                  <a:gd name="connsiteY17" fmla="*/ 1922414 h 2322329"/>
                  <a:gd name="connsiteX18" fmla="*/ 1486761 w 2487142"/>
                  <a:gd name="connsiteY18" fmla="*/ 1637407 h 2322329"/>
                  <a:gd name="connsiteX19" fmla="*/ 1019192 w 2487142"/>
                  <a:gd name="connsiteY19" fmla="*/ 1637407 h 2322329"/>
                  <a:gd name="connsiteX20" fmla="*/ 734185 w 2487142"/>
                  <a:gd name="connsiteY20" fmla="*/ 1922414 h 2322329"/>
                  <a:gd name="connsiteX21" fmla="*/ 734185 w 2487142"/>
                  <a:gd name="connsiteY21" fmla="*/ 2190406 h 2322329"/>
                  <a:gd name="connsiteX22" fmla="*/ 374256 w 2487142"/>
                  <a:gd name="connsiteY22" fmla="*/ 2282343 h 2322329"/>
                  <a:gd name="connsiteX23" fmla="*/ 282318 w 2487142"/>
                  <a:gd name="connsiteY23" fmla="*/ 1922414 h 2322329"/>
                  <a:gd name="connsiteX24" fmla="*/ 642247 w 2487142"/>
                  <a:gd name="connsiteY24" fmla="*/ 1830476 h 2322329"/>
                  <a:gd name="connsiteX25" fmla="*/ 924299 w 2487142"/>
                  <a:gd name="connsiteY25" fmla="*/ 1544813 h 2322329"/>
                  <a:gd name="connsiteX26" fmla="*/ 850749 w 2487142"/>
                  <a:gd name="connsiteY26" fmla="*/ 1216464 h 2322329"/>
                  <a:gd name="connsiteX27" fmla="*/ 487923 w 2487142"/>
                  <a:gd name="connsiteY27" fmla="*/ 1068707 h 2322329"/>
                  <a:gd name="connsiteX28" fmla="*/ 223951 w 2487142"/>
                  <a:gd name="connsiteY28" fmla="*/ 1166473 h 2322329"/>
                  <a:gd name="connsiteX29" fmla="*/ 4696 w 2487142"/>
                  <a:gd name="connsiteY29" fmla="*/ 846683 h 2322329"/>
                  <a:gd name="connsiteX30" fmla="*/ 324488 w 2487142"/>
                  <a:gd name="connsiteY30" fmla="*/ 627425 h 2322329"/>
                  <a:gd name="connsiteX31" fmla="*/ 543743 w 2487142"/>
                  <a:gd name="connsiteY31" fmla="*/ 947217 h 2322329"/>
                  <a:gd name="connsiteX32" fmla="*/ 897703 w 2487142"/>
                  <a:gd name="connsiteY32" fmla="*/ 1095303 h 2322329"/>
                  <a:gd name="connsiteX33" fmla="*/ 1187306 w 2487142"/>
                  <a:gd name="connsiteY33" fmla="*/ 895338 h 2322329"/>
                  <a:gd name="connsiteX34" fmla="*/ 1187306 w 2487142"/>
                  <a:gd name="connsiteY34" fmla="*/ 517080 h 2322329"/>
                  <a:gd name="connsiteX35" fmla="*/ 998637 w 2487142"/>
                  <a:gd name="connsiteY35" fmla="*/ 328411 h 2322329"/>
                  <a:gd name="connsiteX36" fmla="*/ 1187306 w 2487142"/>
                  <a:gd name="connsiteY36" fmla="*/ 8405 h 2322329"/>
                  <a:gd name="connsiteX37" fmla="*/ 1239899 w 2487142"/>
                  <a:gd name="connsiteY37" fmla="*/ 337 h 2322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487142" h="2322329">
                    <a:moveTo>
                      <a:pt x="1239899" y="337"/>
                    </a:moveTo>
                    <a:cubicBezTo>
                      <a:pt x="1361920" y="-5871"/>
                      <a:pt x="1475580" y="74165"/>
                      <a:pt x="1507315" y="197071"/>
                    </a:cubicBezTo>
                    <a:cubicBezTo>
                      <a:pt x="1543581" y="337539"/>
                      <a:pt x="1459114" y="480810"/>
                      <a:pt x="1318646" y="517080"/>
                    </a:cubicBezTo>
                    <a:lnTo>
                      <a:pt x="1318646" y="895666"/>
                    </a:lnTo>
                    <a:cubicBezTo>
                      <a:pt x="1441383" y="915420"/>
                      <a:pt x="1548517" y="989820"/>
                      <a:pt x="1609891" y="1097930"/>
                    </a:cubicBezTo>
                    <a:lnTo>
                      <a:pt x="1962538" y="950500"/>
                    </a:lnTo>
                    <a:cubicBezTo>
                      <a:pt x="1947014" y="832754"/>
                      <a:pt x="2011928" y="719113"/>
                      <a:pt x="2121236" y="672671"/>
                    </a:cubicBezTo>
                    <a:cubicBezTo>
                      <a:pt x="2255593" y="615591"/>
                      <a:pt x="2410787" y="678237"/>
                      <a:pt x="2467867" y="812594"/>
                    </a:cubicBezTo>
                    <a:cubicBezTo>
                      <a:pt x="2521874" y="947145"/>
                      <a:pt x="2458608" y="1100206"/>
                      <a:pt x="2325364" y="1157361"/>
                    </a:cubicBezTo>
                    <a:cubicBezTo>
                      <a:pt x="2215025" y="1202158"/>
                      <a:pt x="2088352" y="1167120"/>
                      <a:pt x="2016716" y="1071990"/>
                    </a:cubicBezTo>
                    <a:lnTo>
                      <a:pt x="1655532" y="1220404"/>
                    </a:lnTo>
                    <a:cubicBezTo>
                      <a:pt x="1660818" y="1246669"/>
                      <a:pt x="1663458" y="1273400"/>
                      <a:pt x="1663412" y="1300193"/>
                    </a:cubicBezTo>
                    <a:cubicBezTo>
                      <a:pt x="1663439" y="1389363"/>
                      <a:pt x="1634262" y="1476089"/>
                      <a:pt x="1580340" y="1547111"/>
                    </a:cubicBezTo>
                    <a:lnTo>
                      <a:pt x="1864033" y="1833760"/>
                    </a:lnTo>
                    <a:cubicBezTo>
                      <a:pt x="1967825" y="1772158"/>
                      <a:pt x="2100238" y="1789213"/>
                      <a:pt x="2185031" y="1875105"/>
                    </a:cubicBezTo>
                    <a:cubicBezTo>
                      <a:pt x="2286954" y="1978345"/>
                      <a:pt x="2285886" y="2144660"/>
                      <a:pt x="2182647" y="2246580"/>
                    </a:cubicBezTo>
                    <a:cubicBezTo>
                      <a:pt x="2079407" y="2348503"/>
                      <a:pt x="1913092" y="2347435"/>
                      <a:pt x="1811169" y="2244196"/>
                    </a:cubicBezTo>
                    <a:cubicBezTo>
                      <a:pt x="1727591" y="2157798"/>
                      <a:pt x="1711506" y="2026425"/>
                      <a:pt x="1771768" y="1922414"/>
                    </a:cubicBezTo>
                    <a:lnTo>
                      <a:pt x="1486761" y="1637407"/>
                    </a:lnTo>
                    <a:cubicBezTo>
                      <a:pt x="1346198" y="1735052"/>
                      <a:pt x="1159755" y="1735052"/>
                      <a:pt x="1019192" y="1637407"/>
                    </a:cubicBezTo>
                    <a:lnTo>
                      <a:pt x="734185" y="1922414"/>
                    </a:lnTo>
                    <a:cubicBezTo>
                      <a:pt x="783181" y="2005027"/>
                      <a:pt x="783181" y="2107793"/>
                      <a:pt x="734185" y="2190406"/>
                    </a:cubicBezTo>
                    <a:cubicBezTo>
                      <a:pt x="660182" y="2315185"/>
                      <a:pt x="499038" y="2356347"/>
                      <a:pt x="374256" y="2282343"/>
                    </a:cubicBezTo>
                    <a:cubicBezTo>
                      <a:pt x="249476" y="2208337"/>
                      <a:pt x="208315" y="2047193"/>
                      <a:pt x="282318" y="1922414"/>
                    </a:cubicBezTo>
                    <a:cubicBezTo>
                      <a:pt x="356324" y="1797635"/>
                      <a:pt x="517468" y="1756473"/>
                      <a:pt x="642247" y="1830476"/>
                    </a:cubicBezTo>
                    <a:lnTo>
                      <a:pt x="924299" y="1544813"/>
                    </a:lnTo>
                    <a:cubicBezTo>
                      <a:pt x="853747" y="1451013"/>
                      <a:pt x="826953" y="1331396"/>
                      <a:pt x="850749" y="1216464"/>
                    </a:cubicBezTo>
                    <a:lnTo>
                      <a:pt x="487923" y="1068707"/>
                    </a:lnTo>
                    <a:cubicBezTo>
                      <a:pt x="424654" y="1147425"/>
                      <a:pt x="323233" y="1184992"/>
                      <a:pt x="223951" y="1166473"/>
                    </a:cubicBezTo>
                    <a:cubicBezTo>
                      <a:pt x="75097" y="1138711"/>
                      <a:pt x="-23067" y="995537"/>
                      <a:pt x="4696" y="846683"/>
                    </a:cubicBezTo>
                    <a:cubicBezTo>
                      <a:pt x="32458" y="697829"/>
                      <a:pt x="175631" y="599663"/>
                      <a:pt x="324488" y="627425"/>
                    </a:cubicBezTo>
                    <a:cubicBezTo>
                      <a:pt x="473341" y="655187"/>
                      <a:pt x="571505" y="798363"/>
                      <a:pt x="543743" y="947217"/>
                    </a:cubicBezTo>
                    <a:lnTo>
                      <a:pt x="897703" y="1095303"/>
                    </a:lnTo>
                    <a:cubicBezTo>
                      <a:pt x="959242" y="988477"/>
                      <a:pt x="1065607" y="915035"/>
                      <a:pt x="1187306" y="895338"/>
                    </a:cubicBezTo>
                    <a:lnTo>
                      <a:pt x="1187306" y="517080"/>
                    </a:lnTo>
                    <a:cubicBezTo>
                      <a:pt x="1094781" y="493189"/>
                      <a:pt x="1022528" y="420936"/>
                      <a:pt x="998637" y="328411"/>
                    </a:cubicBezTo>
                    <a:cubicBezTo>
                      <a:pt x="962371" y="187946"/>
                      <a:pt x="1046839" y="44671"/>
                      <a:pt x="1187306" y="8405"/>
                    </a:cubicBezTo>
                    <a:cubicBezTo>
                      <a:pt x="1204865" y="3871"/>
                      <a:pt x="1222467" y="1224"/>
                      <a:pt x="1239899" y="337"/>
                    </a:cubicBezTo>
                    <a:close/>
                  </a:path>
                </a:pathLst>
              </a:custGeom>
              <a:gradFill>
                <a:gsLst>
                  <a:gs pos="0">
                    <a:srgbClr val="00B0F0"/>
                  </a:gs>
                  <a:gs pos="88000">
                    <a:srgbClr val="2D2B8D"/>
                  </a:gs>
                </a:gsLst>
                <a:lin ang="2400000" scaled="0"/>
              </a:gradFill>
              <a:ln w="32742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>
                  <a:solidFill>
                    <a:schemeClr val="tx1"/>
                  </a:solidFill>
                </a:endParaRPr>
              </a:p>
            </p:txBody>
          </p:sp>
          <p:pic>
            <p:nvPicPr>
              <p:cNvPr id="2" name="Рисунок 1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268289" y="1489057"/>
                <a:ext cx="1971675" cy="1752600"/>
              </a:xfrm>
              <a:prstGeom prst="rect">
                <a:avLst/>
              </a:prstGeom>
            </p:spPr>
          </p:pic>
        </p:grpSp>
        <p:sp>
          <p:nvSpPr>
            <p:cNvPr id="94" name="TextBox 93"/>
            <p:cNvSpPr txBox="1"/>
            <p:nvPr/>
          </p:nvSpPr>
          <p:spPr>
            <a:xfrm>
              <a:off x="3281123" y="3133161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ГИА</a:t>
              </a:r>
              <a:endPara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3769507" y="5470199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ВПР </a:t>
              </a:r>
              <a:endPara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7591081" y="3196059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НИКО</a:t>
              </a:r>
              <a:endPara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7080898" y="5429745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МИ</a:t>
              </a:r>
              <a:endPara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36" name="Номер слайда 8"/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200" dirty="0" smtClean="0">
                <a:solidFill>
                  <a:schemeClr val="tx1">
                    <a:tint val="75000"/>
                  </a:schemeClr>
                </a:solidFill>
              </a:rPr>
              <a:t>3</a:t>
            </a:r>
            <a:endParaRPr lang="ru-RU" sz="1200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37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55176491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ЕАТИВНОЕ МЫШЛЕНИЕ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26" y="1072883"/>
            <a:ext cx="3566633" cy="47618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3897086" y="1072883"/>
            <a:ext cx="54429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акие существуют критерии оценки?</a:t>
            </a:r>
            <a:endParaRPr lang="ru-RU" sz="2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973284" y="1502228"/>
            <a:ext cx="804454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. Оцениваются </a:t>
            </a: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только 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смысленные </a:t>
            </a: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деи, имеющие непосредственное отношение к заданию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sz="2000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апример:</a:t>
            </a:r>
          </a:p>
          <a:p>
            <a:r>
              <a:rPr lang="ru-RU" sz="20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Если </a:t>
            </a:r>
            <a:r>
              <a:rPr lang="ru-RU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 задании требуется придумать заголовок к фотографии </a:t>
            </a:r>
            <a:r>
              <a:rPr lang="ru-RU" sz="20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ли картине</a:t>
            </a:r>
            <a:r>
              <a:rPr lang="ru-RU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, то все записи, не имеющие никакого отношения к </a:t>
            </a:r>
            <a:r>
              <a:rPr lang="ru-RU" sz="20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зображению </a:t>
            </a:r>
            <a:r>
              <a:rPr lang="ru-RU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а фотографии или на картине, </a:t>
            </a:r>
            <a:r>
              <a:rPr lang="ru-RU" sz="20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Е</a:t>
            </a:r>
            <a:r>
              <a:rPr lang="ru-RU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оцениваются</a:t>
            </a:r>
            <a:r>
              <a:rPr lang="ru-RU" sz="20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. В заданиях на </a:t>
            </a: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ыдвижение идей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основной критерий —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это количество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азличающихся между собой идей, отвечающих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требованиям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дания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 В заданиях </a:t>
            </a: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а оценку и отбор идей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в качестве критерия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бычно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уется соответствие допустимым ответам. Если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твет совпадает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— буквально или по смыслу — с одним из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опустимых ответов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, указанных экспертами с учётом критериев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реативности, то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такой ответ засчитывается. </a:t>
            </a: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 тексте задания все эти 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ритерии перечисляются</a:t>
            </a: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="" xmlns:p14="http://schemas.microsoft.com/office/powerpoint/2010/main" val="64681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ЕАТИВНОЕ МЫШЛЕНИЕ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26" y="1072883"/>
            <a:ext cx="1475859" cy="19704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1872343" y="1072883"/>
            <a:ext cx="7726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ак следует читать, выполнять и оценивать задания?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767012" y="1534548"/>
            <a:ext cx="6148388" cy="279341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48039" y="4272677"/>
            <a:ext cx="1158868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ежде чем приступить к выполнению задания, необходимо 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искать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дсказки в вводном тексте.</a:t>
            </a:r>
          </a:p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з данного текста становится ясно, что в 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дании: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требуется «использовать геометрические фигуры для 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я изображений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»;</a:t>
            </a:r>
          </a:p>
          <a:p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 помощью этих изображений предлагается передать «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бразы реальных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едметов» и «разные эмоции»;</a:t>
            </a:r>
          </a:p>
          <a:p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ля создания образов и выражения эмоций нужно 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ть «линии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, круги, треугольники и иные фигуры»;</a:t>
            </a:r>
          </a:p>
          <a:p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бразы и эмоции, передаваемые с помощью геометрических 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игур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, должны быть креативными, то есть разнообразными и 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естандартными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="" xmlns:p14="http://schemas.microsoft.com/office/powerpoint/2010/main" val="2158650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ЕАТИВНОЕ МЫШЛЕНИЕ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26" y="1072883"/>
            <a:ext cx="1475859" cy="19704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1872343" y="1072883"/>
            <a:ext cx="7726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ак следует читать, выполнять и оценивать задания?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168422" y="1534547"/>
            <a:ext cx="5213578" cy="14475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168422" y="2982082"/>
            <a:ext cx="5213578" cy="29809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3557181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ЕАТИВНОЕ МЫШЛЕНИЕ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26" y="1072883"/>
            <a:ext cx="1475859" cy="19704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1872343" y="1072883"/>
            <a:ext cx="7726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ак следует читать, выполнять и оценивать задания?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872343" y="1534548"/>
            <a:ext cx="5289234" cy="20686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872343" y="3615527"/>
            <a:ext cx="4386943" cy="287734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324600" y="3746156"/>
            <a:ext cx="5366658" cy="19918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TextBox 11"/>
          <p:cNvSpPr txBox="1"/>
          <p:nvPr/>
        </p:nvSpPr>
        <p:spPr>
          <a:xfrm>
            <a:off x="8458200" y="3346046"/>
            <a:ext cx="14205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ясняем!</a:t>
            </a:r>
            <a:endParaRPr lang="ru-RU" sz="2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0731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ЕАТИВНОЕ МЫШЛЕНИЕ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26" y="1072883"/>
            <a:ext cx="1475859" cy="19704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1872343" y="1072883"/>
            <a:ext cx="7726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ак следует читать, выполнять и оценивать задания?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999569" y="1710688"/>
            <a:ext cx="7960860" cy="34405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3175623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ЕАТИВНОЕ МЫШЛЕНИЕ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26" y="1072883"/>
            <a:ext cx="1475859" cy="19704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1872343" y="1072883"/>
            <a:ext cx="7726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ак следует читать, выполнять и оценивать задания?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872343" y="1534548"/>
            <a:ext cx="5256575" cy="32551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951208" y="2380569"/>
            <a:ext cx="4979021" cy="31621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4079211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АТИВНОЕ МЫШЛЕНИЕ: РЕШАЕМ ЗАДАНИЕ ВМЕСТЕ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11426" y="1016901"/>
            <a:ext cx="4808807" cy="7030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11426" y="1840101"/>
            <a:ext cx="5529464" cy="23513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324600" y="1016901"/>
            <a:ext cx="5018314" cy="26441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324600" y="3767818"/>
            <a:ext cx="5018314" cy="27229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1443258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3162454" y="6519242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АТИВНОЕ МЫШЛЕНИЕ: РЕШАЕМ ЗАДАНИЕ ВМЕСТЕ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11426" y="1016901"/>
            <a:ext cx="4808807" cy="7030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11427" y="1840102"/>
            <a:ext cx="5949888" cy="18338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11426" y="4058557"/>
            <a:ext cx="5949889" cy="10706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161315" y="958137"/>
            <a:ext cx="2748643" cy="11847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950902" y="959294"/>
            <a:ext cx="3142670" cy="11836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277254" y="2246084"/>
            <a:ext cx="3347296" cy="22996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439655" y="4648940"/>
            <a:ext cx="5022494" cy="18819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4005023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3162454" y="6519242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АТИВНОЕ МЫШЛЕНИЕ: РЕШАЕМ ЗАДАНИЕ ВМЕСТЕ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11426" y="1016901"/>
            <a:ext cx="4808807" cy="7030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11426" y="1743167"/>
            <a:ext cx="5133460" cy="47659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656489" y="1743167"/>
            <a:ext cx="5370739" cy="33050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1488791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ЛОБАЛЬНЫЕ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КОМПЕТЕНЦИИ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27" y="1016901"/>
            <a:ext cx="3423125" cy="46321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extBox 2"/>
          <p:cNvSpPr txBox="1"/>
          <p:nvPr/>
        </p:nvSpPr>
        <p:spPr>
          <a:xfrm>
            <a:off x="3842657" y="1016901"/>
            <a:ext cx="58129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то такое «глобальные компетенции»?</a:t>
            </a:r>
            <a:endParaRPr lang="ru-RU" sz="2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995057" y="1600200"/>
            <a:ext cx="7939641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пособность эффективно действовать индивидуально или в группе в различных ситуациях.</a:t>
            </a:r>
          </a:p>
          <a:p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ни включают в себя:</a:t>
            </a:r>
          </a:p>
          <a:p>
            <a:pPr marL="342900" indent="-342900">
              <a:buFontTx/>
              <a:buChar char="-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интересованность и осведомлённость о глобальных тенденциях развития;</a:t>
            </a:r>
          </a:p>
          <a:p>
            <a:pPr marL="342900" indent="-342900">
              <a:buFontTx/>
              <a:buChar char="-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 поведением;</a:t>
            </a:r>
          </a:p>
          <a:p>
            <a:pPr marL="342900" indent="-342900">
              <a:buFontTx/>
              <a:buChar char="-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ткрытость новому;</a:t>
            </a:r>
          </a:p>
          <a:p>
            <a:pPr marL="342900" indent="-342900">
              <a:buFontTx/>
              <a:buChar char="-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эмоциональное восприятие нового.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842657" y="4154745"/>
            <a:ext cx="80706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акие знания лежат в </a:t>
            </a:r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снове глобальных </a:t>
            </a:r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омпетенций?</a:t>
            </a:r>
            <a:endParaRPr lang="ru-RU" sz="24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842657" y="4616410"/>
            <a:ext cx="625645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мение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аспознавать глобальное и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локальное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мение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ыслить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лобально, а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ействовать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локально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мение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ыслить аналитически и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ритически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нания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, умения и отношения между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людьми.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37871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70055" y="491706"/>
            <a:ext cx="97535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Общероссийская оценка по модели PISA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485863" y="6585028"/>
            <a:ext cx="57394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 материалам ФЕДЕРАЛЬНОЙ СЛУЖБЫ ПО НАДЗОРУ В СФЕРЕ ОБРАЗОВАНИЯ И НАУКИ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4" y="6708139"/>
            <a:ext cx="115645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397758052"/>
              </p:ext>
            </p:extLst>
          </p:nvPr>
        </p:nvGraphicFramePr>
        <p:xfrm>
          <a:off x="7922042" y="1321313"/>
          <a:ext cx="3867920" cy="5173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2150">
                  <a:extLst>
                    <a:ext uri="{9D8B030D-6E8A-4147-A177-3AD203B41FA5}">
                      <a16:colId xmlns="" xmlns:a16="http://schemas.microsoft.com/office/drawing/2014/main" val="1594603869"/>
                    </a:ext>
                  </a:extLst>
                </a:gridCol>
                <a:gridCol w="3255770">
                  <a:extLst>
                    <a:ext uri="{9D8B030D-6E8A-4147-A177-3AD203B41FA5}">
                      <a16:colId xmlns="" xmlns:a16="http://schemas.microsoft.com/office/drawing/2014/main" val="3401031767"/>
                    </a:ext>
                  </a:extLst>
                </a:gridCol>
              </a:tblGrid>
              <a:tr h="374851"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6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2019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130865938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Республика</a:t>
                      </a:r>
                      <a:r>
                        <a:rPr lang="ru-RU" sz="1600" kern="1200" baseline="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 Саха (Якутия)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665727707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Республика</a:t>
                      </a:r>
                      <a:r>
                        <a:rPr lang="ru-RU" sz="1600" kern="1200" baseline="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 Бурятия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95897628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Саратовская область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85354612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Ульяновская область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785121355"/>
                  </a:ext>
                </a:extLst>
              </a:tr>
              <a:tr h="262457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Вологодская </a:t>
                      </a: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область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339381589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Кабардино-Балкарская Республика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567940084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Ставропольский край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919308571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Иркутская область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665820550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Томская область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601012177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Ямало-Ненецкий</a:t>
                      </a:r>
                      <a:r>
                        <a:rPr lang="ru-RU" sz="1600" kern="1200" baseline="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 автономный округ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823475881"/>
                  </a:ext>
                </a:extLst>
              </a:tr>
              <a:tr h="262457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Ивановская область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681204780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Липецкая область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115515066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Брянская область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680952042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600" kern="1200" dirty="0" smtClean="0">
                          <a:solidFill>
                            <a:srgbClr val="212529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Краснодарский край</a:t>
                      </a:r>
                      <a:endParaRPr lang="ru-RU" sz="1600" kern="1200" dirty="0">
                        <a:solidFill>
                          <a:srgbClr val="212529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036362162"/>
                  </a:ext>
                </a:extLst>
              </a:tr>
            </a:tbl>
          </a:graphicData>
        </a:graphic>
      </p:graphicFrame>
      <p:sp>
        <p:nvSpPr>
          <p:cNvPr id="28" name="TextBox 72"/>
          <p:cNvSpPr txBox="1"/>
          <p:nvPr/>
        </p:nvSpPr>
        <p:spPr>
          <a:xfrm>
            <a:off x="473970" y="1407410"/>
            <a:ext cx="7230697" cy="467820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29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ценка качества образования на основе практики </a:t>
            </a:r>
          </a:p>
          <a:p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еждународных исследований</a:t>
            </a:r>
            <a:endParaRPr lang="ru-RU" sz="1600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одзаголовок 2"/>
          <p:cNvSpPr txBox="1">
            <a:spLocks/>
          </p:cNvSpPr>
          <p:nvPr/>
        </p:nvSpPr>
        <p:spPr>
          <a:xfrm>
            <a:off x="423169" y="1908346"/>
            <a:ext cx="7332297" cy="275460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 каждом регионе — репрезентативная выборка, от 75 до 150    </a:t>
            </a:r>
          </a:p>
          <a:p>
            <a:pPr>
              <a:spcAft>
                <a:spcPts val="600"/>
              </a:spcAft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     образовательных организаций</a:t>
            </a: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рок проведения: сентябрь—октябрь</a:t>
            </a: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Школьники в возрасте от 15 лет и 3 месяцев до 16 лет и 2 месяцев</a:t>
            </a:r>
          </a:p>
          <a:p>
            <a:pPr>
              <a:spcAft>
                <a:spcPts val="600"/>
              </a:spcAft>
            </a:pP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    (с 7-ого класса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ценка проводится на компьютерах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 процессе проведения в аудитории присутствует не менее 2 организаторов</a:t>
            </a:r>
          </a:p>
          <a:p>
            <a:pPr>
              <a:spcAft>
                <a:spcPts val="600"/>
              </a:spcAft>
            </a:pPr>
            <a:endParaRPr lang="ru-RU" sz="1600" b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57257" y="4544413"/>
            <a:ext cx="4337257" cy="39959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формируются группы субъектов: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одзаголовок 2"/>
          <p:cNvSpPr txBox="1">
            <a:spLocks/>
          </p:cNvSpPr>
          <p:nvPr/>
        </p:nvSpPr>
        <p:spPr>
          <a:xfrm>
            <a:off x="315304" y="5211842"/>
            <a:ext cx="7093157" cy="89255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хожие размеры групп по количеству обучающихся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едставительство всех федеральных округов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едставительство «сельских» и «городских» регионов</a:t>
            </a:r>
            <a:endParaRPr lang="ru-RU" sz="1600" b="0" dirty="0">
              <a:solidFill>
                <a:schemeClr val="tx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</a:t>
            </a:fld>
            <a:endParaRPr lang="ru-RU" dirty="0"/>
          </a:p>
        </p:txBody>
      </p:sp>
      <p:pic>
        <p:nvPicPr>
          <p:cNvPr id="32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725138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ЛОБАЛЬНЫЕ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КОМПЕТЕНЦИИ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98450" y="1016901"/>
            <a:ext cx="103323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СИТУАЦИЯ «ДОБЫВАЕМ МАРГАНЕЦ В ЗЕДЛАНДИИ»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11427" y="1663232"/>
            <a:ext cx="5752868" cy="20621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11427" y="3962831"/>
            <a:ext cx="5752868" cy="19660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086905" y="1663232"/>
            <a:ext cx="6048651" cy="42656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2100775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2672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ЛОБАЛЬНЫЕ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КОМПЕТЕНЦИИ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98450" y="1016901"/>
            <a:ext cx="103323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СИТУАЦИЯ «ДОБЫВАЕМ МАРГАНЕЦ В ЗЕДЛАНДИИ»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8462" y="1663232"/>
            <a:ext cx="4788275" cy="16331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28461" y="3363268"/>
            <a:ext cx="4817123" cy="236311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306482" y="1663232"/>
            <a:ext cx="5520919" cy="31909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117986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2630311" y="6469358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7" y="2615"/>
            <a:ext cx="1969673" cy="894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81100" y="122773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ЛОБАЛЬНЫЕ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КОМПЕТЕНЦИИ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87161" y="834515"/>
            <a:ext cx="103323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СИТУАЦИЯ «ДОБЫВАЕМ МАРГАНЕЦ В ЗЕДЛАНДИИ»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11427" y="1422001"/>
            <a:ext cx="5554039" cy="46472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176962" y="1416338"/>
            <a:ext cx="5247394" cy="18992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415874" y="3398961"/>
            <a:ext cx="4376304" cy="19667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415874" y="5365724"/>
            <a:ext cx="4387593" cy="12861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2815382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1757" name="Слайд think-cell" r:id="rId4" imgW="360" imgH="360" progId="">
              <p:embed/>
            </p:oleObj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16821" y="482264"/>
            <a:ext cx="9641438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Финансовая грамотность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3638587" y="5081703"/>
            <a:ext cx="4645924" cy="123110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069299"/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  <a:sym typeface="Arial"/>
              </a:rPr>
              <a:t>Состав </a:t>
            </a:r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  <a:sym typeface="Arial"/>
              </a:rPr>
              <a:t>УМК:</a:t>
            </a:r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  <a:sym typeface="Arial"/>
            </a:endParaRPr>
          </a:p>
          <a:p>
            <a:pPr marL="180000" indent="-180000" defTabSz="1069299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  <a:sym typeface="Arial"/>
              </a:rPr>
              <a:t>Учебник </a:t>
            </a:r>
          </a:p>
          <a:p>
            <a:pPr marL="180000" indent="-180000" defTabSz="1069299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  <a:sym typeface="Arial"/>
              </a:rPr>
              <a:t>Рабочая тетрадь </a:t>
            </a:r>
          </a:p>
          <a:p>
            <a:pPr marL="180000" indent="-180000" defTabSz="1069299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  <a:sym typeface="Arial"/>
              </a:rPr>
              <a:t>Методические рекомендации </a:t>
            </a:r>
          </a:p>
          <a:p>
            <a:pPr marL="180000" indent="-180000" defTabSz="1069299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  <a:sym typeface="Arial"/>
              </a:rPr>
              <a:t>Электронная форма учебника </a:t>
            </a:r>
          </a:p>
        </p:txBody>
      </p:sp>
      <p:pic>
        <p:nvPicPr>
          <p:cNvPr id="28" name="Picture 4" descr="https://www.prosv.ru/_data/umk/541/e-versiya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804" t="4792" r="3954" b="8585"/>
          <a:stretch/>
        </p:blipFill>
        <p:spPr bwMode="auto">
          <a:xfrm>
            <a:off x="8710958" y="2179948"/>
            <a:ext cx="2372968" cy="145768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954" name="Picture 1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611" y="2209475"/>
            <a:ext cx="2894693" cy="3872067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D73AF0E4-C89C-4590-9120-B36716DBE064}"/>
              </a:ext>
            </a:extLst>
          </p:cNvPr>
          <p:cNvSpPr txBox="1"/>
          <p:nvPr/>
        </p:nvSpPr>
        <p:spPr>
          <a:xfrm>
            <a:off x="493611" y="1353946"/>
            <a:ext cx="10472174" cy="71733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Главная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адача курса — научить критически оценивать финансовые предложения с учетом их преимуществ и недостатков и делать осознанный выбор для достижения личных финансовых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целей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3388304" y="2199453"/>
            <a:ext cx="5146491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/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остым и ясным языком освещает вопросы: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Личное финансовое планирование, расходы и доходы 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емьи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ак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охранить и преумножить 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бережения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редитование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 возможные 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риски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обильные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латежи и защита от 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ошенников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трахование</a:t>
            </a:r>
            <a:endParaRPr lang="ru-RU" sz="1600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Налоги</a:t>
            </a:r>
            <a:endParaRPr lang="ru-RU" sz="1600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енсия</a:t>
            </a:r>
            <a:endParaRPr lang="ru-RU" sz="1600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Защита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т финансовых махинаций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526558" y="3768046"/>
            <a:ext cx="34306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/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ожет использоваться</a:t>
            </a:r>
          </a:p>
          <a:p>
            <a:pPr marL="180975"/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на уроках, во внеурочной деятельности, в системе дополнительного образова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8760017" y="5328768"/>
            <a:ext cx="2073041" cy="43355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№ ФПУ 1.3.6.2.1.1</a:t>
            </a:r>
          </a:p>
        </p:txBody>
      </p:sp>
      <p:cxnSp>
        <p:nvCxnSpPr>
          <p:cNvPr id="36" name="Прямая соединительная линия 35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4</a:t>
            </a:r>
            <a:endParaRPr lang="ru-RU" dirty="0"/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688930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2783" name="Слайд think-cell" r:id="rId4" imgW="360" imgH="360" progId="">
              <p:embed/>
            </p:oleObj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436562" y="473293"/>
            <a:ext cx="9440454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Задачники»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DA2D9AC4-09ED-41C8-9B7E-ABA991EBB706}"/>
              </a:ext>
            </a:extLst>
          </p:cNvPr>
          <p:cNvSpPr txBox="1"/>
          <p:nvPr/>
        </p:nvSpPr>
        <p:spPr>
          <a:xfrm>
            <a:off x="436562" y="1451628"/>
            <a:ext cx="10432844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Функциональная грамотность. Задачники</a:t>
            </a: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020" y="2488945"/>
            <a:ext cx="1681200" cy="2268001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6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495" t="1733" r="5391" b="3923"/>
          <a:stretch/>
        </p:blipFill>
        <p:spPr bwMode="auto">
          <a:xfrm>
            <a:off x="1345542" y="3673374"/>
            <a:ext cx="1762371" cy="226765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1" name="Прямоугольник 50"/>
          <p:cNvSpPr/>
          <p:nvPr/>
        </p:nvSpPr>
        <p:spPr>
          <a:xfrm>
            <a:off x="3378200" y="2131253"/>
            <a:ext cx="5089657" cy="4001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ногофункциональные задачники: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озволят учащимся существенно повысить уровень своей функциональной грамотности,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одержат разнообразные тренировочные и проверочные задания и упражнения для текущего и итогового контроля знаний, а также творческие задания, позволяющие углубить знания по различным предметным областям и расширить кругозор,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образования.</a:t>
            </a: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6114" y="2314146"/>
            <a:ext cx="1681200" cy="2267999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cxnSp>
        <p:nvCxnSpPr>
          <p:cNvPr id="72" name="Прямая соединительная линия 71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Рисунок 70">
            <a:extLst>
              <a:ext uri="{FF2B5EF4-FFF2-40B4-BE49-F238E27FC236}">
                <a16:creationId xmlns="" xmlns:a16="http://schemas.microsoft.com/office/drawing/2014/main" id="{CAE9C929-47DA-4A70-A58F-FB9DE16F1F1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887" y="3761273"/>
            <a:ext cx="1681200" cy="226800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5</a:t>
            </a:r>
            <a:endParaRPr lang="ru-RU" dirty="0"/>
          </a:p>
        </p:txBody>
      </p:sp>
      <p:pic>
        <p:nvPicPr>
          <p:cNvPr id="31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628237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4831" name="Слайд think-cell" r:id="rId4" imgW="360" imgH="360" progId="">
              <p:embed/>
            </p:oleObj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297545" y="68511"/>
            <a:ext cx="11167069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Формирование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функциональной грамотности</a:t>
            </a:r>
          </a:p>
          <a:p>
            <a:pPr>
              <a:lnSpc>
                <a:spcPct val="100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в образовательной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организации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053396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7</a:t>
            </a:r>
            <a:endParaRPr lang="ru-RU" dirty="0"/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708421859"/>
              </p:ext>
            </p:extLst>
          </p:nvPr>
        </p:nvGraphicFramePr>
        <p:xfrm>
          <a:off x="396348" y="1118576"/>
          <a:ext cx="11438548" cy="444913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0213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53641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418087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дминистративная деятельность</a:t>
                      </a:r>
                      <a:endParaRPr lang="ru-RU" sz="1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сение изменений в основную образовательную программу:</a:t>
                      </a:r>
                    </a:p>
                    <a:p>
                      <a:pPr marL="742950" lvl="1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евой раздел: планируемые результаты и система оценки их достижения</a:t>
                      </a:r>
                    </a:p>
                    <a:p>
                      <a:pPr marL="742950" lvl="1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держательный раздел: корректировка программ учебных курсов, в том числе интегрированных</a:t>
                      </a:r>
                    </a:p>
                    <a:p>
                      <a:pPr marL="742950" lvl="1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зационный: включение соответствующих курсов в часть учебного плана, формируемую участниками образовательных отношений, в план внеурочной деятельности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ключение в план методической работы образовательной организации серии семинаров-практикумов,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правленных на совместную работу всего педагогического коллектива по формированию функциональной грамотности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дение </a:t>
                      </a:r>
                      <a:r>
                        <a:rPr lang="ru-RU" sz="1400" baseline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ишкольного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ониторинга </a:t>
                      </a:r>
                      <a:r>
                        <a:rPr lang="ru-RU" sz="1400" baseline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формированности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функциональной грамотности учащихся с 5 по 9 класс.</a:t>
                      </a:r>
                      <a:endParaRPr lang="ru-RU" sz="16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39138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чная деятельность</a:t>
                      </a:r>
                      <a:endParaRPr lang="ru-RU" sz="1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шение контекстных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адач в рамках уроков по всем предметам учебного плана.</a:t>
                      </a:r>
                      <a:endParaRPr lang="ru-RU" sz="14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329389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урочная деятельность</a:t>
                      </a:r>
                      <a:endParaRPr lang="ru-RU" sz="1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но-исследовательская работа обучающихся с активным использованием </a:t>
                      </a:r>
                      <a:r>
                        <a:rPr lang="ru-RU" sz="140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апредметных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 </a:t>
                      </a:r>
                      <a:r>
                        <a:rPr lang="ru-RU" sz="140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жпредметных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оектов и исследований.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ключение в план внеурочной деятельности образовательной организации  образовательных событий,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правленных на совместную работу всего педагогического коллектива по формированию функциональной грамотности (межпредметные недели, учебно-исследовательские конференции, межпредметные марафоны</a:t>
                      </a:r>
                      <a:r>
                        <a:rPr lang="en-US" sz="14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 т.д.).</a:t>
                      </a:r>
                      <a:endParaRPr lang="ru-RU" sz="14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6" name="Прямоугольник 35"/>
          <p:cNvSpPr/>
          <p:nvPr/>
        </p:nvSpPr>
        <p:spPr>
          <a:xfrm>
            <a:off x="330200" y="6015033"/>
            <a:ext cx="118824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ка учебных пособий возможна в соответствии со статьей 35 Федерального закона от 29.12.2012 № 273-ФЗ «Об образовании в Российской Федерации»</a:t>
            </a:r>
          </a:p>
        </p:txBody>
      </p:sp>
      <p:sp>
        <p:nvSpPr>
          <p:cNvPr id="51" name="Стрелка вниз 50"/>
          <p:cNvSpPr/>
          <p:nvPr/>
        </p:nvSpPr>
        <p:spPr>
          <a:xfrm>
            <a:off x="1307041" y="5587997"/>
            <a:ext cx="1004359" cy="524933"/>
          </a:xfrm>
          <a:prstGeom prst="downArrow">
            <a:avLst>
              <a:gd name="adj1" fmla="val 46570"/>
              <a:gd name="adj2" fmla="val 50000"/>
            </a:avLst>
          </a:prstGeom>
          <a:noFill/>
          <a:ln cmpd="sng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accent5">
                    <a:lumMod val="75000"/>
                  </a:schemeClr>
                </a:solidFill>
              </a:ln>
              <a:noFill/>
            </a:endParaRPr>
          </a:p>
        </p:txBody>
      </p:sp>
      <p:pic>
        <p:nvPicPr>
          <p:cNvPr id="27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384704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6875" name="Слайд think-cell" r:id="rId4" imgW="360" imgH="360" progId="">
              <p:embed/>
            </p:oleObj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121309" y="484276"/>
            <a:ext cx="10502068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Функциональная грамотность в контексте ФГОС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55553" y="5237768"/>
            <a:ext cx="2487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endParaRPr lang="ru-RU" b="1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DA2D9AC4-09ED-41C8-9B7E-ABA991EBB706}"/>
              </a:ext>
            </a:extLst>
          </p:cNvPr>
          <p:cNvSpPr txBox="1"/>
          <p:nvPr/>
        </p:nvSpPr>
        <p:spPr>
          <a:xfrm>
            <a:off x="436562" y="1530001"/>
            <a:ext cx="10919983" cy="6671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уществующи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федеральные нормативные документы включают задачу формирования функциональной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грамотност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2038067" y="2465338"/>
            <a:ext cx="934805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ФГОС начального общего, основного общего и среднего общего образования  </a:t>
            </a:r>
            <a:r>
              <a:rPr lang="ru-RU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(</a:t>
            </a:r>
            <a:r>
              <a:rPr lang="ru-RU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иказы </a:t>
            </a:r>
            <a:r>
              <a:rPr lang="ru-RU" dirty="0" err="1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инобрнауки</a:t>
            </a:r>
            <a:r>
              <a:rPr lang="ru-RU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РФ № </a:t>
            </a:r>
            <a:r>
              <a:rPr lang="ru-RU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373 от 06.10.2009; № 1897 от 17.12.2010; № 413 от 17.05.2012</a:t>
            </a:r>
            <a:r>
              <a:rPr lang="ru-RU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)</a:t>
            </a:r>
            <a:endParaRPr lang="ru-RU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73735" name="Picture 7" descr="http://gosmera.ru/upload/files/images/SER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851" y="2615297"/>
            <a:ext cx="640973" cy="8375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Прямоугольник 53"/>
          <p:cNvSpPr/>
          <p:nvPr/>
        </p:nvSpPr>
        <p:spPr>
          <a:xfrm>
            <a:off x="2057405" y="3885032"/>
            <a:ext cx="932871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имерные </a:t>
            </a:r>
            <a:r>
              <a:rPr lang="ru-RU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сновные образовательные программы начального, основного и среднего общего образования (одобрены решением федерального учебно-методического объединения по общему образованию протокол от 8 апреля 2015 г. № 1/15, протокол  от 28 июня 2016 г. № 2/16-з)</a:t>
            </a:r>
          </a:p>
        </p:txBody>
      </p:sp>
      <p:pic>
        <p:nvPicPr>
          <p:cNvPr id="55" name="Picture 7" descr="http://gosmera.ru/upload/files/images/SER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28" y="4148415"/>
            <a:ext cx="640973" cy="8375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Прямая соединительная линия 2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8</a:t>
            </a:r>
            <a:endParaRPr lang="ru-RU" dirty="0"/>
          </a:p>
        </p:txBody>
      </p:sp>
      <p:pic>
        <p:nvPicPr>
          <p:cNvPr id="31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508594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3812" name="Слайд think-cell" r:id="rId4" imgW="360" imgH="360" progId="">
              <p:embed/>
            </p:oleObj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9625" y="230282"/>
            <a:ext cx="10502068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ая грамотность в контексте национального проекта «Образование»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DA2D9AC4-09ED-41C8-9B7E-ABA991EBB706}"/>
              </a:ext>
            </a:extLst>
          </p:cNvPr>
          <p:cNvSpPr txBox="1"/>
          <p:nvPr/>
        </p:nvSpPr>
        <p:spPr>
          <a:xfrm>
            <a:off x="512633" y="1530001"/>
            <a:ext cx="10474681" cy="94580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Формируя функциональную грамотность обучающихся, мы решаем задачи стратегического развития Российской Федерации:</a:t>
            </a:r>
          </a:p>
          <a:p>
            <a:pPr marL="0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12633" y="2643029"/>
            <a:ext cx="588350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усиление </a:t>
            </a:r>
            <a:r>
              <a:rPr lang="ru-RU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озиций Российской Федерации в глобальной конкуренции  путем развития человеческого потенциала как основного фактора экономического развития</a:t>
            </a:r>
            <a:r>
              <a:rPr lang="ru-RU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;</a:t>
            </a:r>
          </a:p>
          <a:p>
            <a:pPr algn="just"/>
            <a:endParaRPr lang="ru-RU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технологическое первенство на мировой арене, усиление роли инноваций в социально-экономическом развитии.</a:t>
            </a:r>
            <a:endParaRPr lang="en-US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476352" y="5574113"/>
            <a:ext cx="11839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Функциональная грамотность </a:t>
            </a:r>
            <a:r>
              <a:rPr lang="ru-RU" b="1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– основа </a:t>
            </a:r>
            <a:r>
              <a:rPr lang="ru-RU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жизненной и профессиональной успешности выпускников</a:t>
            </a:r>
            <a:r>
              <a:rPr lang="en-US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!</a:t>
            </a:r>
            <a:endParaRPr lang="ru-RU" b="1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6512723" y="2375339"/>
            <a:ext cx="5051411" cy="3408356"/>
            <a:chOff x="5939303" y="983978"/>
            <a:chExt cx="6184815" cy="4116026"/>
          </a:xfrm>
        </p:grpSpPr>
        <p:pic>
          <p:nvPicPr>
            <p:cNvPr id="62" name="Picture 18" descr="https://static.tildacdn.com/tild6239-3135-4666-b532-343761643437/karta-min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53164" y="983978"/>
              <a:ext cx="6170954" cy="411602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115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9303" y="2934536"/>
              <a:ext cx="285484" cy="3553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cxnSp>
        <p:nvCxnSpPr>
          <p:cNvPr id="64" name="Прямая соединительная линия 6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9</a:t>
            </a:r>
            <a:endParaRPr lang="ru-RU" dirty="0"/>
          </a:p>
        </p:txBody>
      </p:sp>
      <p:pic>
        <p:nvPicPr>
          <p:cNvPr id="31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50020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7906" name="Слайд think-cell" r:id="rId4" imgW="360" imgH="360" progId="">
              <p:embed/>
            </p:oleObj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7144969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223936" y="631285"/>
            <a:ext cx="6921034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Комплексное предложение</a:t>
            </a:r>
          </a:p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Группы компаний «Просвещение»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664019" y="3931744"/>
            <a:ext cx="3430368" cy="9848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Курсы повышения квалификации педагогических работников от Академии «Просвещение» 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8592578" y="1348707"/>
            <a:ext cx="3520904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600" b="1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оздание </a:t>
            </a:r>
            <a:r>
              <a:rPr lang="ru-RU" sz="1600" b="1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истемы методической поддержки педагогов </a:t>
            </a:r>
            <a:r>
              <a:rPr lang="ru-RU" sz="1600" b="1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Группой компаний «Просвещение»</a:t>
            </a:r>
          </a:p>
        </p:txBody>
      </p:sp>
      <p:sp>
        <p:nvSpPr>
          <p:cNvPr id="47" name="Овал 46">
            <a:extLst>
              <a:ext uri="{FF2B5EF4-FFF2-40B4-BE49-F238E27FC236}">
                <a16:creationId xmlns="" xmlns:a16="http://schemas.microsoft.com/office/drawing/2014/main" id="{B48C6D04-AF65-4200-984F-141429971FDF}"/>
              </a:ext>
            </a:extLst>
          </p:cNvPr>
          <p:cNvSpPr/>
          <p:nvPr/>
        </p:nvSpPr>
        <p:spPr>
          <a:xfrm>
            <a:off x="7549827" y="1630252"/>
            <a:ext cx="728340" cy="728336"/>
          </a:xfrm>
          <a:prstGeom prst="ellips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chemeClr val="bg1">
                  <a:lumMod val="85000"/>
                </a:schemeClr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8566406" y="2448200"/>
            <a:ext cx="357324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lt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мастер-классы и педагогические мастерские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lt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научно-практические сессии по обмену и тиражированию опыта</a:t>
            </a:r>
          </a:p>
        </p:txBody>
      </p:sp>
      <p:pic>
        <p:nvPicPr>
          <p:cNvPr id="55" name="Рисунок 54" descr="Отзыв заказчика">
            <a:extLst>
              <a:ext uri="{FF2B5EF4-FFF2-40B4-BE49-F238E27FC236}">
                <a16:creationId xmlns="" xmlns:a16="http://schemas.microsoft.com/office/drawing/2014/main" id="{DF1AC323-3F64-4719-BA68-02DA6FB42D4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7743826" y="1801978"/>
            <a:ext cx="400737" cy="400737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7592884" y="3931744"/>
            <a:ext cx="728340" cy="728336"/>
            <a:chOff x="7580025" y="4295912"/>
            <a:chExt cx="728340" cy="728336"/>
          </a:xfrm>
        </p:grpSpPr>
        <p:sp>
          <p:nvSpPr>
            <p:cNvPr id="39" name="Овал 38">
              <a:extLst>
                <a:ext uri="{FF2B5EF4-FFF2-40B4-BE49-F238E27FC236}">
                  <a16:creationId xmlns="" xmlns:a16="http://schemas.microsoft.com/office/drawing/2014/main" id="{65D30833-B574-4D1C-84C1-EFEF154FB176}"/>
                </a:ext>
              </a:extLst>
            </p:cNvPr>
            <p:cNvSpPr/>
            <p:nvPr/>
          </p:nvSpPr>
          <p:spPr>
            <a:xfrm>
              <a:off x="7580025" y="4295912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57" name="Рисунок 56" descr="Профессор">
              <a:extLst>
                <a:ext uri="{FF2B5EF4-FFF2-40B4-BE49-F238E27FC236}">
                  <a16:creationId xmlns="" xmlns:a16="http://schemas.microsoft.com/office/drawing/2014/main" id="{3579773E-1994-4EF6-87B2-0BFE8EF1C5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=""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7714242" y="4430128"/>
              <a:ext cx="459904" cy="459904"/>
            </a:xfrm>
            <a:prstGeom prst="rect">
              <a:avLst/>
            </a:prstGeom>
          </p:spPr>
        </p:pic>
      </p:grpSp>
      <p:grpSp>
        <p:nvGrpSpPr>
          <p:cNvPr id="41" name="Группа 40"/>
          <p:cNvGrpSpPr/>
          <p:nvPr/>
        </p:nvGrpSpPr>
        <p:grpSpPr>
          <a:xfrm>
            <a:off x="488377" y="2030777"/>
            <a:ext cx="2365918" cy="2259212"/>
            <a:chOff x="576953" y="1807568"/>
            <a:chExt cx="1781664" cy="1781664"/>
          </a:xfrm>
        </p:grpSpPr>
        <p:pic>
          <p:nvPicPr>
            <p:cNvPr id="46" name="Picture Placeholder 6">
              <a:extLst>
                <a:ext uri="{FF2B5EF4-FFF2-40B4-BE49-F238E27FC236}">
                  <a16:creationId xmlns="" xmlns:a16="http://schemas.microsoft.com/office/drawing/2014/main" id="{D5CF06A1-3E21-43E6-96A2-E92C80299C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l="16113" r="16113"/>
            <a:stretch/>
          </p:blipFill>
          <p:spPr>
            <a:xfrm>
              <a:off x="576953" y="1807568"/>
              <a:ext cx="1781664" cy="1781664"/>
            </a:xfrm>
            <a:prstGeom prst="ellipse">
              <a:avLst/>
            </a:prstGeom>
          </p:spPr>
        </p:pic>
        <p:sp>
          <p:nvSpPr>
            <p:cNvPr id="48" name="Овал 47">
              <a:extLst>
                <a:ext uri="{FF2B5EF4-FFF2-40B4-BE49-F238E27FC236}">
                  <a16:creationId xmlns="" xmlns:a16="http://schemas.microsoft.com/office/drawing/2014/main" id="{991C8B54-88FB-4F09-AE1C-FC33EA7226B2}"/>
                </a:ext>
              </a:extLst>
            </p:cNvPr>
            <p:cNvSpPr/>
            <p:nvPr/>
          </p:nvSpPr>
          <p:spPr>
            <a:xfrm>
              <a:off x="576953" y="1807568"/>
              <a:ext cx="1781664" cy="1781664"/>
            </a:xfrm>
            <a:prstGeom prst="ellipse">
              <a:avLst/>
            </a:prstGeom>
            <a:solidFill>
              <a:schemeClr val="tx1">
                <a:alpha val="2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aphicFrame>
        <p:nvGraphicFramePr>
          <p:cNvPr id="6" name="Схема 5"/>
          <p:cNvGraphicFramePr/>
          <p:nvPr>
            <p:extLst>
              <p:ext uri="{D42A27DB-BD31-4B8C-83A1-F6EECF244321}">
                <p14:modId xmlns="" xmlns:p14="http://schemas.microsoft.com/office/powerpoint/2010/main" val="4160719727"/>
              </p:ext>
            </p:extLst>
          </p:nvPr>
        </p:nvGraphicFramePr>
        <p:xfrm>
          <a:off x="2543847" y="1323991"/>
          <a:ext cx="5643158" cy="37128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7" name="Схема 6"/>
          <p:cNvGraphicFramePr/>
          <p:nvPr>
            <p:extLst>
              <p:ext uri="{D42A27DB-BD31-4B8C-83A1-F6EECF244321}">
                <p14:modId xmlns="" xmlns:p14="http://schemas.microsoft.com/office/powerpoint/2010/main" val="480651406"/>
              </p:ext>
            </p:extLst>
          </p:nvPr>
        </p:nvGraphicFramePr>
        <p:xfrm>
          <a:off x="1580972" y="2413440"/>
          <a:ext cx="8822033" cy="47508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bg1"/>
                </a:solidFill>
              </a:rPr>
              <a:pPr/>
              <a:t>4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pic>
        <p:nvPicPr>
          <p:cNvPr id="77888" name="Picture 64" descr="C:\Users\EZubkova\Desktop\функциональная грамотность2\prosv_logo_inv@4x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4969" y="-1"/>
            <a:ext cx="1865123" cy="84666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958195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930290"/>
            <a:ext cx="121920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висы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для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педагогов на сайте</a:t>
            </a:r>
            <a:b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Группы компаний «Просвещение»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/>
            </a:r>
            <a:b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en-US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osv.ru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b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20" name="Группа 19"/>
          <p:cNvGrpSpPr/>
          <p:nvPr/>
        </p:nvGrpSpPr>
        <p:grpSpPr>
          <a:xfrm>
            <a:off x="0" y="548203"/>
            <a:ext cx="9888209" cy="33206"/>
            <a:chOff x="0" y="548203"/>
            <a:chExt cx="9888209" cy="33206"/>
          </a:xfrm>
        </p:grpSpPr>
        <p:grpSp>
          <p:nvGrpSpPr>
            <p:cNvPr id="21" name="Группа 55"/>
            <p:cNvGrpSpPr/>
            <p:nvPr/>
          </p:nvGrpSpPr>
          <p:grpSpPr>
            <a:xfrm>
              <a:off x="5361108" y="548203"/>
              <a:ext cx="4527101" cy="33206"/>
              <a:chOff x="5361108" y="546724"/>
              <a:chExt cx="4527101" cy="33206"/>
            </a:xfrm>
          </p:grpSpPr>
          <p:grpSp>
            <p:nvGrpSpPr>
              <p:cNvPr id="52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60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61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53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54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55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22" name="Группа 56"/>
            <p:cNvGrpSpPr/>
            <p:nvPr/>
          </p:nvGrpSpPr>
          <p:grpSpPr>
            <a:xfrm>
              <a:off x="1048040" y="548203"/>
              <a:ext cx="4527101" cy="33206"/>
              <a:chOff x="5361108" y="546724"/>
              <a:chExt cx="4527101" cy="33206"/>
            </a:xfrm>
          </p:grpSpPr>
          <p:grpSp>
            <p:nvGrpSpPr>
              <p:cNvPr id="38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46" name="Группа 45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0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1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47" name="Группа 46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39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40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41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23" name="Группа 71"/>
            <p:cNvGrpSpPr/>
            <p:nvPr/>
          </p:nvGrpSpPr>
          <p:grpSpPr>
            <a:xfrm>
              <a:off x="0" y="548203"/>
              <a:ext cx="4527101" cy="33206"/>
              <a:chOff x="5361108" y="546724"/>
              <a:chExt cx="4527101" cy="33206"/>
            </a:xfrm>
          </p:grpSpPr>
          <p:grpSp>
            <p:nvGrpSpPr>
              <p:cNvPr id="24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32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33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25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26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0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1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27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2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2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</p:grpSp>
      <p:sp>
        <p:nvSpPr>
          <p:cNvPr id="66" name="Подзаголовок 2"/>
          <p:cNvSpPr txBox="1">
            <a:spLocks/>
          </p:cNvSpPr>
          <p:nvPr/>
        </p:nvSpPr>
        <p:spPr>
          <a:xfrm>
            <a:off x="2798855" y="2862924"/>
            <a:ext cx="7330667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9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endParaRPr lang="ru-RU" sz="29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268415" y="2427885"/>
            <a:ext cx="1347316" cy="68355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алог 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1761080" y="2426416"/>
            <a:ext cx="1632546" cy="68367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рячая линия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8861102" y="2445247"/>
            <a:ext cx="3007387" cy="66484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>
              <a:defRPr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атериалы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ля подготовки к участию в международных исследованиях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37562" y="4103637"/>
            <a:ext cx="18090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talog.prosv.ru</a:t>
            </a:r>
            <a:endParaRPr lang="ru-RU" u="sng" dirty="0">
              <a:solidFill>
                <a:srgbClr val="1F497D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1" name="Рисунок 8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856" y="3343893"/>
            <a:ext cx="473619" cy="56464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946332" y="4098119"/>
            <a:ext cx="19276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opros</a:t>
            </a:r>
            <a:r>
              <a:rPr lang="ru-RU" u="sng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@</a:t>
            </a:r>
            <a:r>
              <a:rPr lang="en-US" u="sng" dirty="0" err="1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sv</a:t>
            </a:r>
            <a:r>
              <a:rPr lang="ru-RU" u="sng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en-US" u="sng" dirty="0" err="1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u</a:t>
            </a:r>
            <a:endParaRPr lang="ru-RU" u="sng" dirty="0">
              <a:solidFill>
                <a:srgbClr val="1F497D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63492" name="Picture 4" descr="ÐÐ°ÑÑÐ¸Ð½ÐºÐ¸ Ð¿Ð¾ Ð·Ð°Ð¿ÑÐ¾ÑÑ Ð³Ð¾ÑÑÑÐ°Ñ Ð»Ð¸Ð½Ð¸Ñ Ð·Ð½Ð°ÑÐ¾Ðº Ð² Ð¿Ð½Ð³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6259" y="3215746"/>
            <a:ext cx="965192" cy="68669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6297"/>
          <a:stretch/>
        </p:blipFill>
        <p:spPr>
          <a:xfrm>
            <a:off x="4191836" y="3237524"/>
            <a:ext cx="910413" cy="952137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=""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3601810" y="2427764"/>
            <a:ext cx="1973331" cy="68367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чие программы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4178950" y="4098119"/>
            <a:ext cx="10011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sv.ru</a:t>
            </a:r>
            <a:endParaRPr lang="ru-RU" u="sng" dirty="0">
              <a:solidFill>
                <a:srgbClr val="1F497D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0" name="Рисунок 24">
            <a:hlinkClick r:id="rId6"/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93" y="4849533"/>
            <a:ext cx="1158252" cy="1158252"/>
          </a:xfrm>
          <a:prstGeom prst="rect">
            <a:avLst/>
          </a:prstGeom>
        </p:spPr>
      </p:pic>
      <p:sp>
        <p:nvSpPr>
          <p:cNvPr id="83" name="Прямоугольник 82"/>
          <p:cNvSpPr/>
          <p:nvPr/>
        </p:nvSpPr>
        <p:spPr>
          <a:xfrm>
            <a:off x="585119" y="6178941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vopros@prosv.ru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84" name="Рисунок 24">
            <a:hlinkClick r:id="rId6"/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787" y="4849533"/>
            <a:ext cx="1158252" cy="1158252"/>
          </a:xfrm>
          <a:prstGeom prst="rect">
            <a:avLst/>
          </a:prstGeom>
        </p:spPr>
      </p:pic>
      <p:sp>
        <p:nvSpPr>
          <p:cNvPr id="85" name="Прямоугольник 84"/>
          <p:cNvSpPr/>
          <p:nvPr/>
        </p:nvSpPr>
        <p:spPr>
          <a:xfrm>
            <a:off x="5114975" y="6162355"/>
            <a:ext cx="14802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shop.prosv.ru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86" name="Рисунок 85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548187" y="4793656"/>
            <a:ext cx="1277713" cy="1277713"/>
          </a:xfrm>
          <a:prstGeom prst="rect">
            <a:avLst/>
          </a:prstGeom>
        </p:spPr>
      </p:pic>
      <p:sp>
        <p:nvSpPr>
          <p:cNvPr id="87" name="Прямоугольник 86"/>
          <p:cNvSpPr/>
          <p:nvPr/>
        </p:nvSpPr>
        <p:spPr>
          <a:xfrm>
            <a:off x="7338283" y="6127777"/>
            <a:ext cx="17777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academy.prosv.ru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4512" name="Прямоугольник 64511"/>
          <p:cNvSpPr/>
          <p:nvPr/>
        </p:nvSpPr>
        <p:spPr>
          <a:xfrm>
            <a:off x="9600143" y="4063581"/>
            <a:ext cx="14884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isa.prosv.ru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6177149" y="4117984"/>
            <a:ext cx="22563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sv.ru/</a:t>
            </a:r>
            <a:r>
              <a:rPr lang="en-US" u="sng" dirty="0" err="1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klama</a:t>
            </a:r>
            <a:r>
              <a:rPr lang="en-US" u="sng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/</a:t>
            </a:r>
            <a:endParaRPr lang="ru-RU" u="sng" dirty="0">
              <a:solidFill>
                <a:srgbClr val="1F497D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=""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5781428" y="2445247"/>
            <a:ext cx="2988143" cy="66484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зентации и рекламные материалы</a:t>
            </a:r>
          </a:p>
        </p:txBody>
      </p:sp>
      <p:pic>
        <p:nvPicPr>
          <p:cNvPr id="90" name="Picture 2" descr="https://dabar.srce.hr/sites/default/files/field/image/2000px-gnome-x-office-presentation.svg_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2841" y="3184773"/>
            <a:ext cx="1045315" cy="81264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52" name="Picture 4" descr="ÐÐ°ÑÑÐ¸Ð½ÐºÐ¸ Ð¿Ð¾ Ð·Ð°Ð¿ÑÐ¾ÑÑ Ð¸ÑÑÐ»ÐµÐ´Ð¾Ð²Ð°Ð½Ð¸Ñ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8822" y="3275015"/>
            <a:ext cx="1423842" cy="8024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848" name="Номер слайда 7884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9</a:t>
            </a:fld>
            <a:endParaRPr lang="ru-RU" dirty="0"/>
          </a:p>
        </p:txBody>
      </p:sp>
      <p:pic>
        <p:nvPicPr>
          <p:cNvPr id="91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834426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988465248"/>
              </p:ext>
            </p:extLst>
          </p:nvPr>
        </p:nvGraphicFramePr>
        <p:xfrm>
          <a:off x="247830" y="1375647"/>
          <a:ext cx="10873805" cy="52131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476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7476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17476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17476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17476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410212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0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1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2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3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4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50534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ахали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му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агад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мчат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римор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2346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ижегоро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ерм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укотский автономный окру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Хабаров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Забайкаль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2346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уваш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ир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ренбург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Еврейская автономн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ама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3270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 Санкт-Петербур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Удмурт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Мордов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Татарстан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Башкортостан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38604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оми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Марий Эл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овгоро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ензе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Ленингра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3270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Ингушет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урм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рхангель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линингра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арел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2346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м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Дагестан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ск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Северная Осетия-Алан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енецкий автономный окру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72346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Тыв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раснояр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рачаево-Черкес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лтай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ечен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50534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еляби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овосиби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Хакас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ург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емер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72346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ладими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Алт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Ханты-Мансийский автономный окру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оск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юме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38604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уль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вердл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 Москв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Яросла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амб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50534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оронеж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луж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остром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моле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яз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50534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олгоградская область</a:t>
                      </a:r>
                      <a:endParaRPr lang="ru-RU" sz="1100" b="1" kern="12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рл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ост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Белгоро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ве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98236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алмык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Адыге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рым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страх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  <a:spcAft>
                          <a:spcPts val="600"/>
                        </a:spcAft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урская област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398236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 Севастополь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316482889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370055" y="501037"/>
            <a:ext cx="97535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щероссийская оценка по модели PISA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4" y="6651116"/>
            <a:ext cx="1060554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5</a:t>
            </a:fld>
            <a:endParaRPr lang="ru-RU" dirty="0"/>
          </a:p>
        </p:txBody>
      </p:sp>
      <p:pic>
        <p:nvPicPr>
          <p:cNvPr id="27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845741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Подзаголовок 2"/>
          <p:cNvSpPr txBox="1">
            <a:spLocks/>
          </p:cNvSpPr>
          <p:nvPr/>
        </p:nvSpPr>
        <p:spPr>
          <a:xfrm>
            <a:off x="2883522" y="2126324"/>
            <a:ext cx="7330667" cy="21544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Группа компаний «Просвещение»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b="1" spc="-4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Адрес: </a:t>
            </a:r>
            <a:r>
              <a:rPr lang="ru-RU" sz="1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127473, Москва, ул. </a:t>
            </a:r>
            <a:r>
              <a:rPr lang="ru-RU" sz="1800" dirty="0" err="1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Краснопролетарская</a:t>
            </a:r>
            <a:r>
              <a:rPr lang="ru-RU" sz="1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д.16, стр.3, подъезд 8, бизнес-центр «Новослободский»</a:t>
            </a:r>
            <a:br>
              <a:rPr lang="ru-RU" sz="1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ru-RU" sz="1600" b="1" spc="-4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Телефон: </a:t>
            </a:r>
            <a:r>
              <a:rPr lang="ru-RU" sz="1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+7 (495) 789-30-40</a:t>
            </a:r>
            <a:br>
              <a:rPr lang="ru-RU" sz="1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ru-RU" sz="1600" b="1" spc="-4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Факс: </a:t>
            </a:r>
            <a:r>
              <a:rPr lang="ru-RU" sz="1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+7 (495) </a:t>
            </a:r>
            <a:r>
              <a:rPr lang="ru-RU" sz="18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789-30-41</a:t>
            </a:r>
            <a:r>
              <a:rPr lang="ru-RU" sz="1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/>
            </a:r>
            <a:br>
              <a:rPr lang="ru-RU" sz="1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ru-RU" sz="1600" b="1" spc="-4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айт: </a:t>
            </a:r>
            <a:r>
              <a:rPr lang="ru-RU" sz="18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hlinkClick r:id="rId3"/>
              </a:rPr>
              <a:t>prosv.ru</a:t>
            </a:r>
            <a:endParaRPr lang="ru-RU" sz="1800" dirty="0" smtClean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b="1" spc="-4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Горячая линия: </a:t>
            </a:r>
            <a:r>
              <a:rPr lang="en-US" sz="1800" dirty="0" err="1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hlinkClick r:id="rId4"/>
              </a:rPr>
              <a:t>vopros</a:t>
            </a:r>
            <a:r>
              <a:rPr lang="ru-RU" sz="1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hlinkClick r:id="rId4"/>
              </a:rPr>
              <a:t>@</a:t>
            </a:r>
            <a:r>
              <a:rPr lang="en-US" sz="1800" dirty="0" err="1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hlinkClick r:id="rId4"/>
              </a:rPr>
              <a:t>prosv</a:t>
            </a:r>
            <a:r>
              <a:rPr lang="ru-RU" sz="1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hlinkClick r:id="rId4"/>
              </a:rPr>
              <a:t>.</a:t>
            </a:r>
            <a:r>
              <a:rPr lang="en-US" sz="1800" dirty="0" err="1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hlinkClick r:id="rId4"/>
              </a:rPr>
              <a:t>ru</a:t>
            </a:r>
            <a:endParaRPr lang="ru-RU" sz="3200" b="1" spc="-4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68" name="Рисунок 24">
            <a:hlinkClick r:id="rId5"/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464" y="2410746"/>
            <a:ext cx="1870014" cy="1870014"/>
          </a:xfrm>
          <a:prstGeom prst="rect">
            <a:avLst/>
          </a:prstGeom>
        </p:spPr>
      </p:pic>
      <p:sp>
        <p:nvSpPr>
          <p:cNvPr id="69" name="Заголовок 1"/>
          <p:cNvSpPr txBox="1">
            <a:spLocks/>
          </p:cNvSpPr>
          <p:nvPr/>
        </p:nvSpPr>
        <p:spPr bwMode="auto">
          <a:xfrm>
            <a:off x="215445" y="5667488"/>
            <a:ext cx="9007880" cy="7407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240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Прямая соединительная линия 69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50</a:t>
            </a:fld>
            <a:endParaRPr lang="ru-RU" dirty="0"/>
          </a:p>
        </p:txBody>
      </p:sp>
      <p:pic>
        <p:nvPicPr>
          <p:cNvPr id="22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433828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4606" name="Слайд think-cell" r:id="rId4" imgW="360" imgH="360" progId="">
              <p:embed/>
            </p:oleObj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497323" y="470893"/>
            <a:ext cx="1012434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Международная оценка качества образова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70035" y="1364749"/>
            <a:ext cx="11582248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ждународные рейтинги качества систем образования опираются на данные исследований </a:t>
            </a:r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RLS, TIMSS </a:t>
            </a:r>
            <a:r>
              <a:rPr lang="ru-RU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 </a:t>
            </a:r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SA</a:t>
            </a:r>
            <a:r>
              <a:rPr lang="ru-RU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sp>
        <p:nvSpPr>
          <p:cNvPr id="439" name="Прямоугольник 438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4" y="6651117"/>
            <a:ext cx="872606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cxnSp>
        <p:nvCxnSpPr>
          <p:cNvPr id="122" name="Прямая соединительная линия 121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6</a:t>
            </a:r>
            <a:endParaRPr lang="ru-RU" dirty="0"/>
          </a:p>
        </p:txBody>
      </p:sp>
      <p:graphicFrame>
        <p:nvGraphicFramePr>
          <p:cNvPr id="124" name="Таблица 12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665417076"/>
              </p:ext>
            </p:extLst>
          </p:nvPr>
        </p:nvGraphicFramePr>
        <p:xfrm>
          <a:off x="333372" y="1694223"/>
          <a:ext cx="11679951" cy="4754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6649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24055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97290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37811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BDEF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ВОЕНИЕ ОСНОВ ЧТЕНИЯ </a:t>
                      </a:r>
                      <a:r>
                        <a:rPr lang="ru-RU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ЦЕЛЬЮ</a:t>
                      </a:r>
                    </a:p>
                    <a:p>
                      <a:pPr marL="135000" indent="-135000">
                        <a:buFont typeface="Arial" panose="020B0604020202020204" pitchFamily="34" charset="0"/>
                        <a:buChar char="•"/>
                      </a:pPr>
                      <a:r>
                        <a:rPr lang="ru-RU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обретения читательского литературного опыта</a:t>
                      </a:r>
                    </a:p>
                    <a:p>
                      <a:pPr marL="135000" indent="-135000">
                        <a:buFont typeface="Arial" panose="020B0604020202020204" pitchFamily="34" charset="0"/>
                        <a:buChar char="•"/>
                      </a:pPr>
                      <a:r>
                        <a:rPr lang="ru-RU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воения и использования информации</a:t>
                      </a:r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BDEFF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RLS</a:t>
                      </a:r>
                      <a:r>
                        <a:rPr lang="ru-RU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ess in International Reading Literacy Study</a:t>
                      </a: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ласс, один раз в 5 лет,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1, 2006, 2011, 2016, </a:t>
                      </a:r>
                      <a:r>
                        <a:rPr lang="ru-RU" sz="2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 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BDEF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7811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ВОЕНИЕ ОСНОВ МАТЕМАТИКИ И ЕСТЕСТВЕННО-НАУЧНЫХ ПРЕДМЕТОВ:</a:t>
                      </a:r>
                    </a:p>
                    <a:p>
                      <a:pPr marL="135000" indent="-13500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х общеобразовательных курсов (4, 8 классы)</a:t>
                      </a:r>
                    </a:p>
                    <a:p>
                      <a:pPr marL="135000" indent="-13500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глублённых курсов математики и физики (11 класс)</a:t>
                      </a:r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SS</a:t>
                      </a:r>
                      <a:r>
                        <a:rPr lang="ru-RU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ds in Mathematics and Science Study</a:t>
                      </a: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 </a:t>
                      </a:r>
                      <a:r>
                        <a:rPr lang="ru-RU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лассы, один раз в 4 года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95,…, 2015, 2019, </a:t>
                      </a:r>
                      <a:r>
                        <a:rPr lang="ru-RU" sz="2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378115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BDEF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ФОРМИРОВАННОСТЬ ФУНКЦИОНАЛЬНОЙ ГРАМОТНОСТИ, НАВЫКОВ РАЗРЕШЕНИЯ ПРОБЛЕМ, ГЛОБАЛЬНЫХ КОМПЕТЕНЦИЙ, КРЕАТИВНОГО МЫШЛЕНИЯ</a:t>
                      </a:r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BDEFF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SA</a:t>
                      </a:r>
                      <a:r>
                        <a:rPr lang="ru-RU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me</a:t>
                      </a: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or International Student Assessment</a:t>
                      </a: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15-летние обучающиеся,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дин раз в 3 года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0,…, 2015, 2018, </a:t>
                      </a:r>
                      <a:r>
                        <a:rPr lang="ru-RU" sz="2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, </a:t>
                      </a:r>
                      <a:r>
                        <a:rPr lang="en-US" sz="2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BDEF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125" name="Group 4"/>
          <p:cNvGrpSpPr>
            <a:grpSpLocks noChangeAspect="1"/>
          </p:cNvGrpSpPr>
          <p:nvPr/>
        </p:nvGrpSpPr>
        <p:grpSpPr bwMode="auto">
          <a:xfrm>
            <a:off x="553191" y="2013003"/>
            <a:ext cx="1066225" cy="743903"/>
            <a:chOff x="3172" y="1756"/>
            <a:chExt cx="1336" cy="808"/>
          </a:xfrm>
        </p:grpSpPr>
        <p:sp>
          <p:nvSpPr>
            <p:cNvPr id="126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72" y="1756"/>
              <a:ext cx="1336" cy="8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grpSp>
          <p:nvGrpSpPr>
            <p:cNvPr id="127" name="Group 205"/>
            <p:cNvGrpSpPr>
              <a:grpSpLocks/>
            </p:cNvGrpSpPr>
            <p:nvPr/>
          </p:nvGrpSpPr>
          <p:grpSpPr bwMode="auto">
            <a:xfrm>
              <a:off x="3172" y="1756"/>
              <a:ext cx="1346" cy="814"/>
              <a:chOff x="3172" y="1756"/>
              <a:chExt cx="1346" cy="814"/>
            </a:xfrm>
          </p:grpSpPr>
          <p:sp>
            <p:nvSpPr>
              <p:cNvPr id="129" name="Freeform 5"/>
              <p:cNvSpPr>
                <a:spLocks/>
              </p:cNvSpPr>
              <p:nvPr/>
            </p:nvSpPr>
            <p:spPr bwMode="auto">
              <a:xfrm>
                <a:off x="3888" y="1980"/>
                <a:ext cx="123" cy="366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4"/>
                  </a:cxn>
                  <a:cxn ang="0">
                    <a:pos x="463" y="1576"/>
                  </a:cxn>
                  <a:cxn ang="0">
                    <a:pos x="463" y="1576"/>
                  </a:cxn>
                  <a:cxn ang="0">
                    <a:pos x="190" y="1576"/>
                  </a:cxn>
                  <a:cxn ang="0">
                    <a:pos x="0" y="1576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4">
                    <a:moveTo>
                      <a:pt x="533" y="37"/>
                    </a:moveTo>
                    <a:lnTo>
                      <a:pt x="533" y="1584"/>
                    </a:lnTo>
                    <a:cubicBezTo>
                      <a:pt x="511" y="1579"/>
                      <a:pt x="487" y="1576"/>
                      <a:pt x="463" y="1576"/>
                    </a:cubicBezTo>
                    <a:lnTo>
                      <a:pt x="463" y="1576"/>
                    </a:lnTo>
                    <a:lnTo>
                      <a:pt x="190" y="1576"/>
                    </a:lnTo>
                    <a:lnTo>
                      <a:pt x="0" y="1576"/>
                    </a:ln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0" name="Freeform 6"/>
              <p:cNvSpPr>
                <a:spLocks/>
              </p:cNvSpPr>
              <p:nvPr/>
            </p:nvSpPr>
            <p:spPr bwMode="auto">
              <a:xfrm>
                <a:off x="4011" y="1980"/>
                <a:ext cx="122" cy="423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5"/>
                  </a:cxn>
                  <a:cxn ang="0">
                    <a:pos x="368" y="1676"/>
                  </a:cxn>
                  <a:cxn ang="0">
                    <a:pos x="368" y="1676"/>
                  </a:cxn>
                  <a:cxn ang="0">
                    <a:pos x="280" y="1829"/>
                  </a:cxn>
                  <a:cxn ang="0">
                    <a:pos x="257" y="1829"/>
                  </a:cxn>
                  <a:cxn ang="0">
                    <a:pos x="169" y="1676"/>
                  </a:cxn>
                  <a:cxn ang="0">
                    <a:pos x="169" y="1676"/>
                  </a:cxn>
                  <a:cxn ang="0">
                    <a:pos x="0" y="1584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829">
                    <a:moveTo>
                      <a:pt x="533" y="37"/>
                    </a:moveTo>
                    <a:lnTo>
                      <a:pt x="533" y="1585"/>
                    </a:lnTo>
                    <a:cubicBezTo>
                      <a:pt x="469" y="1599"/>
                      <a:pt x="412" y="1631"/>
                      <a:pt x="368" y="1676"/>
                    </a:cubicBezTo>
                    <a:lnTo>
                      <a:pt x="368" y="1676"/>
                    </a:lnTo>
                    <a:cubicBezTo>
                      <a:pt x="326" y="1718"/>
                      <a:pt x="295" y="1770"/>
                      <a:pt x="280" y="1829"/>
                    </a:cubicBezTo>
                    <a:lnTo>
                      <a:pt x="257" y="1829"/>
                    </a:lnTo>
                    <a:cubicBezTo>
                      <a:pt x="242" y="1770"/>
                      <a:pt x="211" y="1718"/>
                      <a:pt x="169" y="1676"/>
                    </a:cubicBezTo>
                    <a:lnTo>
                      <a:pt x="169" y="1676"/>
                    </a:lnTo>
                    <a:cubicBezTo>
                      <a:pt x="124" y="1630"/>
                      <a:pt x="66" y="1598"/>
                      <a:pt x="0" y="1584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1" name="Freeform 7"/>
              <p:cNvSpPr>
                <a:spLocks/>
              </p:cNvSpPr>
              <p:nvPr/>
            </p:nvSpPr>
            <p:spPr bwMode="auto">
              <a:xfrm>
                <a:off x="4133" y="1980"/>
                <a:ext cx="123" cy="366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76"/>
                  </a:cxn>
                  <a:cxn ang="0">
                    <a:pos x="74" y="1576"/>
                  </a:cxn>
                  <a:cxn ang="0">
                    <a:pos x="74" y="1576"/>
                  </a:cxn>
                  <a:cxn ang="0">
                    <a:pos x="0" y="1585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5">
                    <a:moveTo>
                      <a:pt x="533" y="37"/>
                    </a:moveTo>
                    <a:lnTo>
                      <a:pt x="533" y="1576"/>
                    </a:lnTo>
                    <a:lnTo>
                      <a:pt x="74" y="1576"/>
                    </a:lnTo>
                    <a:lnTo>
                      <a:pt x="74" y="1576"/>
                    </a:lnTo>
                    <a:cubicBezTo>
                      <a:pt x="49" y="1576"/>
                      <a:pt x="24" y="1579"/>
                      <a:pt x="0" y="1585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2" name="Freeform 8"/>
              <p:cNvSpPr>
                <a:spLocks/>
              </p:cNvSpPr>
              <p:nvPr/>
            </p:nvSpPr>
            <p:spPr bwMode="auto">
              <a:xfrm>
                <a:off x="3949" y="1980"/>
                <a:ext cx="62" cy="366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4"/>
                  </a:cxn>
                  <a:cxn ang="0">
                    <a:pos x="196" y="1576"/>
                  </a:cxn>
                  <a:cxn ang="0">
                    <a:pos x="19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84">
                    <a:moveTo>
                      <a:pt x="266" y="37"/>
                    </a:moveTo>
                    <a:lnTo>
                      <a:pt x="266" y="1584"/>
                    </a:lnTo>
                    <a:cubicBezTo>
                      <a:pt x="244" y="1579"/>
                      <a:pt x="220" y="1576"/>
                      <a:pt x="196" y="1576"/>
                    </a:cubicBezTo>
                    <a:lnTo>
                      <a:pt x="19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3" name="Freeform 9"/>
              <p:cNvSpPr>
                <a:spLocks/>
              </p:cNvSpPr>
              <p:nvPr/>
            </p:nvSpPr>
            <p:spPr bwMode="auto">
              <a:xfrm>
                <a:off x="4072" y="1980"/>
                <a:ext cx="61" cy="423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5"/>
                  </a:cxn>
                  <a:cxn ang="0">
                    <a:pos x="101" y="1676"/>
                  </a:cxn>
                  <a:cxn ang="0">
                    <a:pos x="101" y="1676"/>
                  </a:cxn>
                  <a:cxn ang="0">
                    <a:pos x="13" y="1829"/>
                  </a:cxn>
                  <a:cxn ang="0">
                    <a:pos x="0" y="1829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829">
                    <a:moveTo>
                      <a:pt x="266" y="37"/>
                    </a:moveTo>
                    <a:lnTo>
                      <a:pt x="266" y="1585"/>
                    </a:lnTo>
                    <a:cubicBezTo>
                      <a:pt x="202" y="1599"/>
                      <a:pt x="145" y="1631"/>
                      <a:pt x="101" y="1676"/>
                    </a:cubicBezTo>
                    <a:lnTo>
                      <a:pt x="101" y="1676"/>
                    </a:lnTo>
                    <a:cubicBezTo>
                      <a:pt x="59" y="1718"/>
                      <a:pt x="28" y="1770"/>
                      <a:pt x="13" y="1829"/>
                    </a:cubicBezTo>
                    <a:lnTo>
                      <a:pt x="0" y="1829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4" name="Freeform 10"/>
              <p:cNvSpPr>
                <a:spLocks/>
              </p:cNvSpPr>
              <p:nvPr/>
            </p:nvSpPr>
            <p:spPr bwMode="auto">
              <a:xfrm>
                <a:off x="4195" y="1980"/>
                <a:ext cx="61" cy="364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76">
                    <a:moveTo>
                      <a:pt x="266" y="37"/>
                    </a:moveTo>
                    <a:lnTo>
                      <a:pt x="26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5" name="Rectangle 11"/>
              <p:cNvSpPr>
                <a:spLocks noChangeArrowheads="1"/>
              </p:cNvSpPr>
              <p:nvPr/>
            </p:nvSpPr>
            <p:spPr bwMode="auto">
              <a:xfrm>
                <a:off x="3896" y="2038"/>
                <a:ext cx="107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6" name="Rectangle 12"/>
              <p:cNvSpPr>
                <a:spLocks noChangeArrowheads="1"/>
              </p:cNvSpPr>
              <p:nvPr/>
            </p:nvSpPr>
            <p:spPr bwMode="auto">
              <a:xfrm>
                <a:off x="3896" y="2020"/>
                <a:ext cx="107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7" name="Rectangle 13"/>
              <p:cNvSpPr>
                <a:spLocks noChangeArrowheads="1"/>
              </p:cNvSpPr>
              <p:nvPr/>
            </p:nvSpPr>
            <p:spPr bwMode="auto">
              <a:xfrm>
                <a:off x="4018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8" name="Rectangle 14"/>
              <p:cNvSpPr>
                <a:spLocks noChangeArrowheads="1"/>
              </p:cNvSpPr>
              <p:nvPr/>
            </p:nvSpPr>
            <p:spPr bwMode="auto">
              <a:xfrm>
                <a:off x="4018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9" name="Rectangle 15"/>
              <p:cNvSpPr>
                <a:spLocks noChangeArrowheads="1"/>
              </p:cNvSpPr>
              <p:nvPr/>
            </p:nvSpPr>
            <p:spPr bwMode="auto">
              <a:xfrm>
                <a:off x="4141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0" name="Rectangle 16"/>
              <p:cNvSpPr>
                <a:spLocks noChangeArrowheads="1"/>
              </p:cNvSpPr>
              <p:nvPr/>
            </p:nvSpPr>
            <p:spPr bwMode="auto">
              <a:xfrm>
                <a:off x="4141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1" name="Rectangle 17"/>
              <p:cNvSpPr>
                <a:spLocks noChangeArrowheads="1"/>
              </p:cNvSpPr>
              <p:nvPr/>
            </p:nvSpPr>
            <p:spPr bwMode="auto">
              <a:xfrm>
                <a:off x="3949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2" name="Rectangle 18"/>
              <p:cNvSpPr>
                <a:spLocks noChangeArrowheads="1"/>
              </p:cNvSpPr>
              <p:nvPr/>
            </p:nvSpPr>
            <p:spPr bwMode="auto">
              <a:xfrm>
                <a:off x="3949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3" name="Rectangle 19"/>
              <p:cNvSpPr>
                <a:spLocks noChangeArrowheads="1"/>
              </p:cNvSpPr>
              <p:nvPr/>
            </p:nvSpPr>
            <p:spPr bwMode="auto">
              <a:xfrm>
                <a:off x="4072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4" name="Rectangle 20"/>
              <p:cNvSpPr>
                <a:spLocks noChangeArrowheads="1"/>
              </p:cNvSpPr>
              <p:nvPr/>
            </p:nvSpPr>
            <p:spPr bwMode="auto">
              <a:xfrm>
                <a:off x="4072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5" name="Rectangle 21"/>
              <p:cNvSpPr>
                <a:spLocks noChangeArrowheads="1"/>
              </p:cNvSpPr>
              <p:nvPr/>
            </p:nvSpPr>
            <p:spPr bwMode="auto">
              <a:xfrm>
                <a:off x="4195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6" name="Rectangle 22"/>
              <p:cNvSpPr>
                <a:spLocks noChangeArrowheads="1"/>
              </p:cNvSpPr>
              <p:nvPr/>
            </p:nvSpPr>
            <p:spPr bwMode="auto">
              <a:xfrm>
                <a:off x="4195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7" name="Freeform 23"/>
              <p:cNvSpPr>
                <a:spLocks noEditPoints="1"/>
              </p:cNvSpPr>
              <p:nvPr/>
            </p:nvSpPr>
            <p:spPr bwMode="auto">
              <a:xfrm>
                <a:off x="4255" y="1975"/>
                <a:ext cx="211" cy="595"/>
              </a:xfrm>
              <a:custGeom>
                <a:avLst/>
                <a:gdLst/>
                <a:ahLst/>
                <a:cxnLst>
                  <a:cxn ang="0">
                    <a:pos x="530" y="33"/>
                  </a:cxn>
                  <a:cxn ang="0">
                    <a:pos x="777" y="1599"/>
                  </a:cxn>
                  <a:cxn ang="0">
                    <a:pos x="237" y="1599"/>
                  </a:cxn>
                  <a:cxn ang="0">
                    <a:pos x="4" y="116"/>
                  </a:cxn>
                  <a:cxn ang="0">
                    <a:pos x="34" y="75"/>
                  </a:cxn>
                  <a:cxn ang="0">
                    <a:pos x="488" y="3"/>
                  </a:cxn>
                  <a:cxn ang="0">
                    <a:pos x="530" y="33"/>
                  </a:cxn>
                  <a:cxn ang="0">
                    <a:pos x="842" y="2012"/>
                  </a:cxn>
                  <a:cxn ang="0">
                    <a:pos x="912" y="2460"/>
                  </a:cxn>
                  <a:cxn ang="0">
                    <a:pos x="882" y="2502"/>
                  </a:cxn>
                  <a:cxn ang="0">
                    <a:pos x="428" y="2574"/>
                  </a:cxn>
                  <a:cxn ang="0">
                    <a:pos x="386" y="2543"/>
                  </a:cxn>
                  <a:cxn ang="0">
                    <a:pos x="302" y="2012"/>
                  </a:cxn>
                  <a:cxn ang="0">
                    <a:pos x="842" y="2012"/>
                  </a:cxn>
                </a:cxnLst>
                <a:rect l="0" t="0" r="r" b="b"/>
                <a:pathLst>
                  <a:path w="915" h="2577">
                    <a:moveTo>
                      <a:pt x="530" y="33"/>
                    </a:moveTo>
                    <a:lnTo>
                      <a:pt x="777" y="1599"/>
                    </a:lnTo>
                    <a:lnTo>
                      <a:pt x="237" y="1599"/>
                    </a:lnTo>
                    <a:lnTo>
                      <a:pt x="4" y="116"/>
                    </a:lnTo>
                    <a:cubicBezTo>
                      <a:pt x="0" y="97"/>
                      <a:pt x="14" y="78"/>
                      <a:pt x="34" y="75"/>
                    </a:cubicBezTo>
                    <a:lnTo>
                      <a:pt x="488" y="3"/>
                    </a:lnTo>
                    <a:cubicBezTo>
                      <a:pt x="508" y="0"/>
                      <a:pt x="527" y="14"/>
                      <a:pt x="530" y="33"/>
                    </a:cubicBezTo>
                    <a:close/>
                    <a:moveTo>
                      <a:pt x="842" y="2012"/>
                    </a:moveTo>
                    <a:lnTo>
                      <a:pt x="912" y="2460"/>
                    </a:lnTo>
                    <a:cubicBezTo>
                      <a:pt x="915" y="2480"/>
                      <a:pt x="902" y="2499"/>
                      <a:pt x="882" y="2502"/>
                    </a:cubicBezTo>
                    <a:lnTo>
                      <a:pt x="428" y="2574"/>
                    </a:lnTo>
                    <a:cubicBezTo>
                      <a:pt x="408" y="2577"/>
                      <a:pt x="389" y="2563"/>
                      <a:pt x="386" y="2543"/>
                    </a:cubicBezTo>
                    <a:lnTo>
                      <a:pt x="302" y="2012"/>
                    </a:lnTo>
                    <a:lnTo>
                      <a:pt x="842" y="2012"/>
                    </a:ln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8" name="Freeform 24"/>
              <p:cNvSpPr>
                <a:spLocks noEditPoints="1"/>
              </p:cNvSpPr>
              <p:nvPr/>
            </p:nvSpPr>
            <p:spPr bwMode="auto">
              <a:xfrm>
                <a:off x="4315" y="1975"/>
                <a:ext cx="151" cy="586"/>
              </a:xfrm>
              <a:custGeom>
                <a:avLst/>
                <a:gdLst/>
                <a:ahLst/>
                <a:cxnLst>
                  <a:cxn ang="0">
                    <a:pos x="269" y="33"/>
                  </a:cxn>
                  <a:cxn ang="0">
                    <a:pos x="516" y="1599"/>
                  </a:cxn>
                  <a:cxn ang="0">
                    <a:pos x="246" y="1599"/>
                  </a:cxn>
                  <a:cxn ang="0">
                    <a:pos x="0" y="39"/>
                  </a:cxn>
                  <a:cxn ang="0">
                    <a:pos x="227" y="3"/>
                  </a:cxn>
                  <a:cxn ang="0">
                    <a:pos x="269" y="33"/>
                  </a:cxn>
                  <a:cxn ang="0">
                    <a:pos x="581" y="2012"/>
                  </a:cxn>
                  <a:cxn ang="0">
                    <a:pos x="651" y="2460"/>
                  </a:cxn>
                  <a:cxn ang="0">
                    <a:pos x="621" y="2502"/>
                  </a:cxn>
                  <a:cxn ang="0">
                    <a:pos x="394" y="2538"/>
                  </a:cxn>
                  <a:cxn ang="0">
                    <a:pos x="311" y="2012"/>
                  </a:cxn>
                  <a:cxn ang="0">
                    <a:pos x="581" y="2012"/>
                  </a:cxn>
                </a:cxnLst>
                <a:rect l="0" t="0" r="r" b="b"/>
                <a:pathLst>
                  <a:path w="654" h="2538">
                    <a:moveTo>
                      <a:pt x="269" y="33"/>
                    </a:moveTo>
                    <a:lnTo>
                      <a:pt x="516" y="1599"/>
                    </a:lnTo>
                    <a:lnTo>
                      <a:pt x="246" y="1599"/>
                    </a:lnTo>
                    <a:lnTo>
                      <a:pt x="0" y="39"/>
                    </a:lnTo>
                    <a:lnTo>
                      <a:pt x="227" y="3"/>
                    </a:lnTo>
                    <a:cubicBezTo>
                      <a:pt x="247" y="0"/>
                      <a:pt x="266" y="14"/>
                      <a:pt x="269" y="33"/>
                    </a:cubicBezTo>
                    <a:close/>
                    <a:moveTo>
                      <a:pt x="581" y="2012"/>
                    </a:moveTo>
                    <a:lnTo>
                      <a:pt x="651" y="2460"/>
                    </a:lnTo>
                    <a:cubicBezTo>
                      <a:pt x="654" y="2480"/>
                      <a:pt x="641" y="2499"/>
                      <a:pt x="621" y="2502"/>
                    </a:cubicBezTo>
                    <a:lnTo>
                      <a:pt x="394" y="2538"/>
                    </a:lnTo>
                    <a:lnTo>
                      <a:pt x="311" y="2012"/>
                    </a:lnTo>
                    <a:lnTo>
                      <a:pt x="581" y="2012"/>
                    </a:ln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9" name="Freeform 25"/>
              <p:cNvSpPr>
                <a:spLocks/>
              </p:cNvSpPr>
              <p:nvPr/>
            </p:nvSpPr>
            <p:spPr bwMode="auto">
              <a:xfrm>
                <a:off x="4337" y="2456"/>
                <a:ext cx="115" cy="65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96" y="210"/>
                  </a:cxn>
                  <a:cxn ang="0">
                    <a:pos x="33" y="282"/>
                  </a:cxn>
                  <a:cxn ang="0">
                    <a:pos x="0" y="72"/>
                  </a:cxn>
                  <a:cxn ang="0">
                    <a:pos x="463" y="0"/>
                  </a:cxn>
                </a:cxnLst>
                <a:rect l="0" t="0" r="r" b="b"/>
                <a:pathLst>
                  <a:path w="496" h="282">
                    <a:moveTo>
                      <a:pt x="463" y="0"/>
                    </a:moveTo>
                    <a:lnTo>
                      <a:pt x="496" y="210"/>
                    </a:lnTo>
                    <a:lnTo>
                      <a:pt x="33" y="282"/>
                    </a:lnTo>
                    <a:lnTo>
                      <a:pt x="0" y="72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0" name="Freeform 26"/>
              <p:cNvSpPr>
                <a:spLocks/>
              </p:cNvSpPr>
              <p:nvPr/>
            </p:nvSpPr>
            <p:spPr bwMode="auto">
              <a:xfrm>
                <a:off x="4271" y="2032"/>
                <a:ext cx="114" cy="66"/>
              </a:xfrm>
              <a:custGeom>
                <a:avLst/>
                <a:gdLst/>
                <a:ahLst/>
                <a:cxnLst>
                  <a:cxn ang="0">
                    <a:pos x="462" y="0"/>
                  </a:cxn>
                  <a:cxn ang="0">
                    <a:pos x="495" y="210"/>
                  </a:cxn>
                  <a:cxn ang="0">
                    <a:pos x="33" y="283"/>
                  </a:cxn>
                  <a:cxn ang="0">
                    <a:pos x="0" y="73"/>
                  </a:cxn>
                  <a:cxn ang="0">
                    <a:pos x="462" y="0"/>
                  </a:cxn>
                </a:cxnLst>
                <a:rect l="0" t="0" r="r" b="b"/>
                <a:pathLst>
                  <a:path w="495" h="283">
                    <a:moveTo>
                      <a:pt x="462" y="0"/>
                    </a:moveTo>
                    <a:lnTo>
                      <a:pt x="495" y="210"/>
                    </a:lnTo>
                    <a:lnTo>
                      <a:pt x="33" y="283"/>
                    </a:lnTo>
                    <a:lnTo>
                      <a:pt x="0" y="73"/>
                    </a:lnTo>
                    <a:lnTo>
                      <a:pt x="462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1" name="Freeform 27"/>
              <p:cNvSpPr>
                <a:spLocks/>
              </p:cNvSpPr>
              <p:nvPr/>
            </p:nvSpPr>
            <p:spPr bwMode="auto">
              <a:xfrm>
                <a:off x="4335" y="2440"/>
                <a:ext cx="108" cy="26"/>
              </a:xfrm>
              <a:custGeom>
                <a:avLst/>
                <a:gdLst/>
                <a:ahLst/>
                <a:cxnLst>
                  <a:cxn ang="0">
                    <a:pos x="464" y="0"/>
                  </a:cxn>
                  <a:cxn ang="0">
                    <a:pos x="471" y="42"/>
                  </a:cxn>
                  <a:cxn ang="0">
                    <a:pos x="8" y="115"/>
                  </a:cxn>
                  <a:cxn ang="0">
                    <a:pos x="0" y="64"/>
                  </a:cxn>
                  <a:cxn ang="0">
                    <a:pos x="407" y="0"/>
                  </a:cxn>
                  <a:cxn ang="0">
                    <a:pos x="464" y="0"/>
                  </a:cxn>
                </a:cxnLst>
                <a:rect l="0" t="0" r="r" b="b"/>
                <a:pathLst>
                  <a:path w="471" h="115">
                    <a:moveTo>
                      <a:pt x="464" y="0"/>
                    </a:moveTo>
                    <a:lnTo>
                      <a:pt x="471" y="42"/>
                    </a:lnTo>
                    <a:lnTo>
                      <a:pt x="8" y="115"/>
                    </a:lnTo>
                    <a:lnTo>
                      <a:pt x="0" y="64"/>
                    </a:lnTo>
                    <a:lnTo>
                      <a:pt x="407" y="0"/>
                    </a:lnTo>
                    <a:lnTo>
                      <a:pt x="464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2" name="Freeform 28"/>
              <p:cNvSpPr>
                <a:spLocks/>
              </p:cNvSpPr>
              <p:nvPr/>
            </p:nvSpPr>
            <p:spPr bwMode="auto">
              <a:xfrm>
                <a:off x="4268" y="2014"/>
                <a:ext cx="109" cy="29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71" y="51"/>
                  </a:cxn>
                  <a:cxn ang="0">
                    <a:pos x="8" y="124"/>
                  </a:cxn>
                  <a:cxn ang="0">
                    <a:pos x="0" y="73"/>
                  </a:cxn>
                  <a:cxn ang="0">
                    <a:pos x="463" y="0"/>
                  </a:cxn>
                </a:cxnLst>
                <a:rect l="0" t="0" r="r" b="b"/>
                <a:pathLst>
                  <a:path w="471" h="124">
                    <a:moveTo>
                      <a:pt x="463" y="0"/>
                    </a:moveTo>
                    <a:lnTo>
                      <a:pt x="471" y="51"/>
                    </a:lnTo>
                    <a:lnTo>
                      <a:pt x="8" y="124"/>
                    </a:lnTo>
                    <a:lnTo>
                      <a:pt x="0" y="73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3" name="Freeform 29"/>
              <p:cNvSpPr>
                <a:spLocks/>
              </p:cNvSpPr>
              <p:nvPr/>
            </p:nvSpPr>
            <p:spPr bwMode="auto">
              <a:xfrm>
                <a:off x="4391" y="2456"/>
                <a:ext cx="61" cy="57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6"/>
                  </a:cxn>
                  <a:cxn ang="0">
                    <a:pos x="0" y="36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6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6"/>
                    </a:lnTo>
                    <a:lnTo>
                      <a:pt x="0" y="36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4" name="Freeform 30"/>
              <p:cNvSpPr>
                <a:spLocks/>
              </p:cNvSpPr>
              <p:nvPr/>
            </p:nvSpPr>
            <p:spPr bwMode="auto">
              <a:xfrm>
                <a:off x="4324" y="2032"/>
                <a:ext cx="61" cy="58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7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5" name="Freeform 31"/>
              <p:cNvSpPr>
                <a:spLocks/>
              </p:cNvSpPr>
              <p:nvPr/>
            </p:nvSpPr>
            <p:spPr bwMode="auto">
              <a:xfrm>
                <a:off x="4388" y="2440"/>
                <a:ext cx="55" cy="18"/>
              </a:xfrm>
              <a:custGeom>
                <a:avLst/>
                <a:gdLst/>
                <a:ahLst/>
                <a:cxnLst>
                  <a:cxn ang="0">
                    <a:pos x="233" y="0"/>
                  </a:cxn>
                  <a:cxn ang="0">
                    <a:pos x="240" y="42"/>
                  </a:cxn>
                  <a:cxn ang="0">
                    <a:pos x="8" y="79"/>
                  </a:cxn>
                  <a:cxn ang="0">
                    <a:pos x="0" y="28"/>
                  </a:cxn>
                  <a:cxn ang="0">
                    <a:pos x="176" y="0"/>
                  </a:cxn>
                  <a:cxn ang="0">
                    <a:pos x="233" y="0"/>
                  </a:cxn>
                </a:cxnLst>
                <a:rect l="0" t="0" r="r" b="b"/>
                <a:pathLst>
                  <a:path w="240" h="79">
                    <a:moveTo>
                      <a:pt x="233" y="0"/>
                    </a:moveTo>
                    <a:lnTo>
                      <a:pt x="240" y="42"/>
                    </a:lnTo>
                    <a:lnTo>
                      <a:pt x="8" y="79"/>
                    </a:lnTo>
                    <a:lnTo>
                      <a:pt x="0" y="28"/>
                    </a:lnTo>
                    <a:lnTo>
                      <a:pt x="176" y="0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6" name="Freeform 32"/>
              <p:cNvSpPr>
                <a:spLocks/>
              </p:cNvSpPr>
              <p:nvPr/>
            </p:nvSpPr>
            <p:spPr bwMode="auto">
              <a:xfrm>
                <a:off x="4322" y="2014"/>
                <a:ext cx="55" cy="21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39" y="51"/>
                  </a:cxn>
                  <a:cxn ang="0">
                    <a:pos x="8" y="8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39" h="87">
                    <a:moveTo>
                      <a:pt x="231" y="0"/>
                    </a:moveTo>
                    <a:lnTo>
                      <a:pt x="239" y="51"/>
                    </a:lnTo>
                    <a:lnTo>
                      <a:pt x="8" y="8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7" name="Rectangle 33"/>
              <p:cNvSpPr>
                <a:spLocks noChangeArrowheads="1"/>
              </p:cNvSpPr>
              <p:nvPr/>
            </p:nvSpPr>
            <p:spPr bwMode="auto">
              <a:xfrm>
                <a:off x="4195" y="2151"/>
                <a:ext cx="29" cy="193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8" name="Rectangle 34"/>
              <p:cNvSpPr>
                <a:spLocks noChangeArrowheads="1"/>
              </p:cNvSpPr>
              <p:nvPr/>
            </p:nvSpPr>
            <p:spPr bwMode="auto">
              <a:xfrm>
                <a:off x="4165" y="2151"/>
                <a:ext cx="30" cy="193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9" name="Rectangle 35"/>
              <p:cNvSpPr>
                <a:spLocks noChangeArrowheads="1"/>
              </p:cNvSpPr>
              <p:nvPr/>
            </p:nvSpPr>
            <p:spPr bwMode="auto">
              <a:xfrm>
                <a:off x="3232" y="1940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0" name="Rectangle 36"/>
              <p:cNvSpPr>
                <a:spLocks noChangeArrowheads="1"/>
              </p:cNvSpPr>
              <p:nvPr/>
            </p:nvSpPr>
            <p:spPr bwMode="auto">
              <a:xfrm>
                <a:off x="3232" y="1955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1" name="Rectangle 37"/>
              <p:cNvSpPr>
                <a:spLocks noChangeArrowheads="1"/>
              </p:cNvSpPr>
              <p:nvPr/>
            </p:nvSpPr>
            <p:spPr bwMode="auto">
              <a:xfrm>
                <a:off x="3232" y="1969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2" name="Rectangle 38"/>
              <p:cNvSpPr>
                <a:spLocks noChangeArrowheads="1"/>
              </p:cNvSpPr>
              <p:nvPr/>
            </p:nvSpPr>
            <p:spPr bwMode="auto">
              <a:xfrm>
                <a:off x="3232" y="1984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3" name="Rectangle 39"/>
              <p:cNvSpPr>
                <a:spLocks noChangeArrowheads="1"/>
              </p:cNvSpPr>
              <p:nvPr/>
            </p:nvSpPr>
            <p:spPr bwMode="auto">
              <a:xfrm>
                <a:off x="3232" y="1998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4" name="Rectangle 40"/>
              <p:cNvSpPr>
                <a:spLocks noChangeArrowheads="1"/>
              </p:cNvSpPr>
              <p:nvPr/>
            </p:nvSpPr>
            <p:spPr bwMode="auto">
              <a:xfrm>
                <a:off x="3232" y="2012"/>
                <a:ext cx="325" cy="8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5" name="Rectangle 41"/>
              <p:cNvSpPr>
                <a:spLocks noChangeArrowheads="1"/>
              </p:cNvSpPr>
              <p:nvPr/>
            </p:nvSpPr>
            <p:spPr bwMode="auto">
              <a:xfrm>
                <a:off x="3232" y="1947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6" name="Rectangle 42"/>
              <p:cNvSpPr>
                <a:spLocks noChangeArrowheads="1"/>
              </p:cNvSpPr>
              <p:nvPr/>
            </p:nvSpPr>
            <p:spPr bwMode="auto">
              <a:xfrm>
                <a:off x="3232" y="1962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7" name="Rectangle 43"/>
              <p:cNvSpPr>
                <a:spLocks noChangeArrowheads="1"/>
              </p:cNvSpPr>
              <p:nvPr/>
            </p:nvSpPr>
            <p:spPr bwMode="auto">
              <a:xfrm>
                <a:off x="3232" y="1976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8" name="Rectangle 44"/>
              <p:cNvSpPr>
                <a:spLocks noChangeArrowheads="1"/>
              </p:cNvSpPr>
              <p:nvPr/>
            </p:nvSpPr>
            <p:spPr bwMode="auto">
              <a:xfrm>
                <a:off x="3232" y="1991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9" name="Rectangle 45"/>
              <p:cNvSpPr>
                <a:spLocks noChangeArrowheads="1"/>
              </p:cNvSpPr>
              <p:nvPr/>
            </p:nvSpPr>
            <p:spPr bwMode="auto">
              <a:xfrm>
                <a:off x="3232" y="2005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0" name="Rectangle 46"/>
              <p:cNvSpPr>
                <a:spLocks noChangeArrowheads="1"/>
              </p:cNvSpPr>
              <p:nvPr/>
            </p:nvSpPr>
            <p:spPr bwMode="auto">
              <a:xfrm>
                <a:off x="3232" y="2020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1" name="Rectangle 47"/>
              <p:cNvSpPr>
                <a:spLocks noChangeArrowheads="1"/>
              </p:cNvSpPr>
              <p:nvPr/>
            </p:nvSpPr>
            <p:spPr bwMode="auto">
              <a:xfrm>
                <a:off x="3232" y="2027"/>
                <a:ext cx="325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2" name="Freeform 48"/>
              <p:cNvSpPr>
                <a:spLocks/>
              </p:cNvSpPr>
              <p:nvPr/>
            </p:nvSpPr>
            <p:spPr bwMode="auto">
              <a:xfrm>
                <a:off x="3557" y="1940"/>
                <a:ext cx="32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01" y="0"/>
                  </a:cxn>
                  <a:cxn ang="0">
                    <a:pos x="139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401" h="31">
                    <a:moveTo>
                      <a:pt x="0" y="0"/>
                    </a:moveTo>
                    <a:lnTo>
                      <a:pt x="1401" y="0"/>
                    </a:lnTo>
                    <a:cubicBezTo>
                      <a:pt x="1397" y="10"/>
                      <a:pt x="1394" y="21"/>
                      <a:pt x="139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3" name="Freeform 49"/>
              <p:cNvSpPr>
                <a:spLocks/>
              </p:cNvSpPr>
              <p:nvPr/>
            </p:nvSpPr>
            <p:spPr bwMode="auto">
              <a:xfrm>
                <a:off x="3557" y="1955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4" y="0"/>
                  </a:cxn>
                  <a:cxn ang="0">
                    <a:pos x="1380" y="30"/>
                  </a:cxn>
                  <a:cxn ang="0">
                    <a:pos x="138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4" h="31">
                    <a:moveTo>
                      <a:pt x="0" y="0"/>
                    </a:moveTo>
                    <a:lnTo>
                      <a:pt x="1384" y="0"/>
                    </a:lnTo>
                    <a:cubicBezTo>
                      <a:pt x="1383" y="9"/>
                      <a:pt x="1381" y="19"/>
                      <a:pt x="1380" y="30"/>
                    </a:cubicBezTo>
                    <a:lnTo>
                      <a:pt x="1380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4" name="Freeform 50"/>
              <p:cNvSpPr>
                <a:spLocks/>
              </p:cNvSpPr>
              <p:nvPr/>
            </p:nvSpPr>
            <p:spPr bwMode="auto">
              <a:xfrm>
                <a:off x="3557" y="1969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6" y="0"/>
                  </a:cxn>
                  <a:cxn ang="0">
                    <a:pos x="137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6" h="31">
                    <a:moveTo>
                      <a:pt x="0" y="0"/>
                    </a:moveTo>
                    <a:lnTo>
                      <a:pt x="1376" y="0"/>
                    </a:lnTo>
                    <a:cubicBezTo>
                      <a:pt x="1375" y="10"/>
                      <a:pt x="1375" y="21"/>
                      <a:pt x="137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5" name="Freeform 51"/>
              <p:cNvSpPr>
                <a:spLocks/>
              </p:cNvSpPr>
              <p:nvPr/>
            </p:nvSpPr>
            <p:spPr bwMode="auto">
              <a:xfrm>
                <a:off x="3557" y="1984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3" y="11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3" h="31">
                    <a:moveTo>
                      <a:pt x="0" y="0"/>
                    </a:moveTo>
                    <a:lnTo>
                      <a:pt x="1373" y="0"/>
                    </a:lnTo>
                    <a:lnTo>
                      <a:pt x="1373" y="11"/>
                    </a:lnTo>
                    <a:cubicBezTo>
                      <a:pt x="1373" y="18"/>
                      <a:pt x="1373" y="25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6" name="Freeform 52"/>
              <p:cNvSpPr>
                <a:spLocks/>
              </p:cNvSpPr>
              <p:nvPr/>
            </p:nvSpPr>
            <p:spPr bwMode="auto">
              <a:xfrm>
                <a:off x="3557" y="1998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5" y="0"/>
                  </a:cxn>
                  <a:cxn ang="0">
                    <a:pos x="1377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7" h="31">
                    <a:moveTo>
                      <a:pt x="0" y="0"/>
                    </a:moveTo>
                    <a:lnTo>
                      <a:pt x="1375" y="0"/>
                    </a:lnTo>
                    <a:cubicBezTo>
                      <a:pt x="1375" y="10"/>
                      <a:pt x="1376" y="20"/>
                      <a:pt x="1377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7" name="Freeform 53"/>
              <p:cNvSpPr>
                <a:spLocks/>
              </p:cNvSpPr>
              <p:nvPr/>
            </p:nvSpPr>
            <p:spPr bwMode="auto">
              <a:xfrm>
                <a:off x="3557" y="2012"/>
                <a:ext cx="319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1" y="0"/>
                  </a:cxn>
                  <a:cxn ang="0">
                    <a:pos x="138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6" h="31">
                    <a:moveTo>
                      <a:pt x="0" y="0"/>
                    </a:moveTo>
                    <a:lnTo>
                      <a:pt x="1381" y="0"/>
                    </a:lnTo>
                    <a:cubicBezTo>
                      <a:pt x="1382" y="11"/>
                      <a:pt x="1384" y="21"/>
                      <a:pt x="138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8" name="Freeform 54"/>
              <p:cNvSpPr>
                <a:spLocks/>
              </p:cNvSpPr>
              <p:nvPr/>
            </p:nvSpPr>
            <p:spPr bwMode="auto">
              <a:xfrm>
                <a:off x="3557" y="1947"/>
                <a:ext cx="320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1" y="0"/>
                  </a:cxn>
                  <a:cxn ang="0">
                    <a:pos x="1384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91" h="32">
                    <a:moveTo>
                      <a:pt x="0" y="0"/>
                    </a:moveTo>
                    <a:lnTo>
                      <a:pt x="1391" y="0"/>
                    </a:lnTo>
                    <a:cubicBezTo>
                      <a:pt x="1389" y="10"/>
                      <a:pt x="1386" y="21"/>
                      <a:pt x="1384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9" name="Freeform 55"/>
              <p:cNvSpPr>
                <a:spLocks/>
              </p:cNvSpPr>
              <p:nvPr/>
            </p:nvSpPr>
            <p:spPr bwMode="auto">
              <a:xfrm>
                <a:off x="3557" y="1962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0" y="0"/>
                  </a:cxn>
                  <a:cxn ang="0">
                    <a:pos x="137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0" h="31">
                    <a:moveTo>
                      <a:pt x="0" y="0"/>
                    </a:moveTo>
                    <a:lnTo>
                      <a:pt x="1380" y="0"/>
                    </a:lnTo>
                    <a:cubicBezTo>
                      <a:pt x="1378" y="10"/>
                      <a:pt x="1377" y="20"/>
                      <a:pt x="137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0" name="Freeform 56"/>
              <p:cNvSpPr>
                <a:spLocks/>
              </p:cNvSpPr>
              <p:nvPr/>
            </p:nvSpPr>
            <p:spPr bwMode="auto">
              <a:xfrm>
                <a:off x="3557" y="1976"/>
                <a:ext cx="316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4" y="0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4" h="31">
                    <a:moveTo>
                      <a:pt x="0" y="0"/>
                    </a:moveTo>
                    <a:lnTo>
                      <a:pt x="1374" y="0"/>
                    </a:lnTo>
                    <a:cubicBezTo>
                      <a:pt x="1374" y="10"/>
                      <a:pt x="1373" y="21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1" name="Freeform 57"/>
              <p:cNvSpPr>
                <a:spLocks/>
              </p:cNvSpPr>
              <p:nvPr/>
            </p:nvSpPr>
            <p:spPr bwMode="auto">
              <a:xfrm>
                <a:off x="3557" y="1991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5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75" h="32">
                    <a:moveTo>
                      <a:pt x="0" y="0"/>
                    </a:moveTo>
                    <a:lnTo>
                      <a:pt x="1373" y="0"/>
                    </a:lnTo>
                    <a:cubicBezTo>
                      <a:pt x="1374" y="11"/>
                      <a:pt x="1374" y="21"/>
                      <a:pt x="1375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2" name="Freeform 58"/>
              <p:cNvSpPr>
                <a:spLocks/>
              </p:cNvSpPr>
              <p:nvPr/>
            </p:nvSpPr>
            <p:spPr bwMode="auto">
              <a:xfrm>
                <a:off x="3557" y="2005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80" y="22"/>
                  </a:cxn>
                  <a:cxn ang="0">
                    <a:pos x="138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1" h="31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8" y="7"/>
                      <a:pt x="1379" y="15"/>
                      <a:pt x="1380" y="22"/>
                    </a:cubicBezTo>
                    <a:lnTo>
                      <a:pt x="1381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3" name="Freeform 59"/>
              <p:cNvSpPr>
                <a:spLocks/>
              </p:cNvSpPr>
              <p:nvPr/>
            </p:nvSpPr>
            <p:spPr bwMode="auto">
              <a:xfrm>
                <a:off x="3557" y="2020"/>
                <a:ext cx="32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6" y="0"/>
                  </a:cxn>
                  <a:cxn ang="0">
                    <a:pos x="139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94" h="31">
                    <a:moveTo>
                      <a:pt x="0" y="0"/>
                    </a:moveTo>
                    <a:lnTo>
                      <a:pt x="1386" y="0"/>
                    </a:lnTo>
                    <a:cubicBezTo>
                      <a:pt x="1389" y="11"/>
                      <a:pt x="1391" y="21"/>
                      <a:pt x="139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4" name="Freeform 60"/>
              <p:cNvSpPr>
                <a:spLocks/>
              </p:cNvSpPr>
              <p:nvPr/>
            </p:nvSpPr>
            <p:spPr bwMode="auto">
              <a:xfrm>
                <a:off x="3557" y="2027"/>
                <a:ext cx="322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4" y="0"/>
                  </a:cxn>
                  <a:cxn ang="0">
                    <a:pos x="1401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401" h="21">
                    <a:moveTo>
                      <a:pt x="0" y="0"/>
                    </a:moveTo>
                    <a:lnTo>
                      <a:pt x="1394" y="0"/>
                    </a:lnTo>
                    <a:cubicBezTo>
                      <a:pt x="1396" y="7"/>
                      <a:pt x="1398" y="15"/>
                      <a:pt x="140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5" name="Freeform 61"/>
              <p:cNvSpPr>
                <a:spLocks/>
              </p:cNvSpPr>
              <p:nvPr/>
            </p:nvSpPr>
            <p:spPr bwMode="auto">
              <a:xfrm>
                <a:off x="3225" y="1919"/>
                <a:ext cx="663" cy="134"/>
              </a:xfrm>
              <a:custGeom>
                <a:avLst/>
                <a:gdLst/>
                <a:ahLst/>
                <a:cxnLst>
                  <a:cxn ang="0">
                    <a:pos x="2877" y="578"/>
                  </a:cxn>
                  <a:cxn ang="0">
                    <a:pos x="123" y="578"/>
                  </a:cxn>
                  <a:cxn ang="0">
                    <a:pos x="6" y="394"/>
                  </a:cxn>
                  <a:cxn ang="0">
                    <a:pos x="0" y="289"/>
                  </a:cxn>
                  <a:cxn ang="0">
                    <a:pos x="6" y="184"/>
                  </a:cxn>
                  <a:cxn ang="0">
                    <a:pos x="123" y="0"/>
                  </a:cxn>
                  <a:cxn ang="0">
                    <a:pos x="2877" y="0"/>
                  </a:cxn>
                  <a:cxn ang="0">
                    <a:pos x="2877" y="91"/>
                  </a:cxn>
                  <a:cxn ang="0">
                    <a:pos x="123" y="91"/>
                  </a:cxn>
                  <a:cxn ang="0">
                    <a:pos x="97" y="195"/>
                  </a:cxn>
                  <a:cxn ang="0">
                    <a:pos x="91" y="289"/>
                  </a:cxn>
                  <a:cxn ang="0">
                    <a:pos x="97" y="383"/>
                  </a:cxn>
                  <a:cxn ang="0">
                    <a:pos x="123" y="486"/>
                  </a:cxn>
                  <a:cxn ang="0">
                    <a:pos x="2877" y="486"/>
                  </a:cxn>
                  <a:cxn ang="0">
                    <a:pos x="2877" y="578"/>
                  </a:cxn>
                </a:cxnLst>
                <a:rect l="0" t="0" r="r" b="b"/>
                <a:pathLst>
                  <a:path w="2877" h="578">
                    <a:moveTo>
                      <a:pt x="2877" y="578"/>
                    </a:moveTo>
                    <a:lnTo>
                      <a:pt x="123" y="578"/>
                    </a:lnTo>
                    <a:cubicBezTo>
                      <a:pt x="57" y="578"/>
                      <a:pt x="19" y="497"/>
                      <a:pt x="6" y="394"/>
                    </a:cubicBezTo>
                    <a:cubicBezTo>
                      <a:pt x="2" y="360"/>
                      <a:pt x="0" y="324"/>
                      <a:pt x="0" y="289"/>
                    </a:cubicBezTo>
                    <a:cubicBezTo>
                      <a:pt x="0" y="254"/>
                      <a:pt x="2" y="218"/>
                      <a:pt x="6" y="184"/>
                    </a:cubicBezTo>
                    <a:cubicBezTo>
                      <a:pt x="19" y="80"/>
                      <a:pt x="57" y="0"/>
                      <a:pt x="123" y="0"/>
                    </a:cubicBezTo>
                    <a:lnTo>
                      <a:pt x="2877" y="0"/>
                    </a:lnTo>
                    <a:lnTo>
                      <a:pt x="2877" y="91"/>
                    </a:lnTo>
                    <a:lnTo>
                      <a:pt x="123" y="91"/>
                    </a:lnTo>
                    <a:cubicBezTo>
                      <a:pt x="114" y="91"/>
                      <a:pt x="104" y="137"/>
                      <a:pt x="97" y="195"/>
                    </a:cubicBezTo>
                    <a:cubicBezTo>
                      <a:pt x="93" y="224"/>
                      <a:pt x="91" y="256"/>
                      <a:pt x="91" y="289"/>
                    </a:cubicBezTo>
                    <a:cubicBezTo>
                      <a:pt x="91" y="322"/>
                      <a:pt x="93" y="354"/>
                      <a:pt x="97" y="383"/>
                    </a:cubicBezTo>
                    <a:cubicBezTo>
                      <a:pt x="104" y="441"/>
                      <a:pt x="114" y="486"/>
                      <a:pt x="123" y="486"/>
                    </a:cubicBezTo>
                    <a:lnTo>
                      <a:pt x="2877" y="486"/>
                    </a:lnTo>
                    <a:lnTo>
                      <a:pt x="2877" y="578"/>
                    </a:ln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6" name="Freeform 62"/>
              <p:cNvSpPr>
                <a:spLocks noEditPoints="1"/>
              </p:cNvSpPr>
              <p:nvPr/>
            </p:nvSpPr>
            <p:spPr bwMode="auto">
              <a:xfrm>
                <a:off x="3557" y="1919"/>
                <a:ext cx="331" cy="134"/>
              </a:xfrm>
              <a:custGeom>
                <a:avLst/>
                <a:gdLst/>
                <a:ahLst/>
                <a:cxnLst>
                  <a:cxn ang="0">
                    <a:pos x="1439" y="578"/>
                  </a:cxn>
                  <a:cxn ang="0">
                    <a:pos x="0" y="578"/>
                  </a:cxn>
                  <a:cxn ang="0">
                    <a:pos x="0" y="486"/>
                  </a:cxn>
                  <a:cxn ang="0">
                    <a:pos x="1439" y="486"/>
                  </a:cxn>
                  <a:cxn ang="0">
                    <a:pos x="1439" y="578"/>
                  </a:cxn>
                  <a:cxn ang="0">
                    <a:pos x="0" y="0"/>
                  </a:cxn>
                  <a:cxn ang="0">
                    <a:pos x="1439" y="0"/>
                  </a:cxn>
                  <a:cxn ang="0">
                    <a:pos x="1439" y="91"/>
                  </a:cxn>
                  <a:cxn ang="0">
                    <a:pos x="0" y="91"/>
                  </a:cxn>
                  <a:cxn ang="0">
                    <a:pos x="0" y="0"/>
                  </a:cxn>
                </a:cxnLst>
                <a:rect l="0" t="0" r="r" b="b"/>
                <a:pathLst>
                  <a:path w="1439" h="578">
                    <a:moveTo>
                      <a:pt x="1439" y="578"/>
                    </a:moveTo>
                    <a:lnTo>
                      <a:pt x="0" y="578"/>
                    </a:lnTo>
                    <a:lnTo>
                      <a:pt x="0" y="486"/>
                    </a:lnTo>
                    <a:lnTo>
                      <a:pt x="1439" y="486"/>
                    </a:lnTo>
                    <a:lnTo>
                      <a:pt x="1439" y="578"/>
                    </a:lnTo>
                    <a:close/>
                    <a:moveTo>
                      <a:pt x="0" y="0"/>
                    </a:moveTo>
                    <a:lnTo>
                      <a:pt x="1439" y="0"/>
                    </a:lnTo>
                    <a:lnTo>
                      <a:pt x="1439" y="91"/>
                    </a:lnTo>
                    <a:lnTo>
                      <a:pt x="0" y="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7" name="Rectangle 63"/>
              <p:cNvSpPr>
                <a:spLocks noChangeArrowheads="1"/>
              </p:cNvSpPr>
              <p:nvPr/>
            </p:nvSpPr>
            <p:spPr bwMode="auto">
              <a:xfrm>
                <a:off x="3227" y="1773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8" name="Rectangle 64"/>
              <p:cNvSpPr>
                <a:spLocks noChangeArrowheads="1"/>
              </p:cNvSpPr>
              <p:nvPr/>
            </p:nvSpPr>
            <p:spPr bwMode="auto">
              <a:xfrm>
                <a:off x="3227" y="179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9" name="Rectangle 65"/>
              <p:cNvSpPr>
                <a:spLocks noChangeArrowheads="1"/>
              </p:cNvSpPr>
              <p:nvPr/>
            </p:nvSpPr>
            <p:spPr bwMode="auto">
              <a:xfrm>
                <a:off x="3227" y="181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0" name="Rectangle 66"/>
              <p:cNvSpPr>
                <a:spLocks noChangeArrowheads="1"/>
              </p:cNvSpPr>
              <p:nvPr/>
            </p:nvSpPr>
            <p:spPr bwMode="auto">
              <a:xfrm>
                <a:off x="3227" y="183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1" name="Rectangle 67"/>
              <p:cNvSpPr>
                <a:spLocks noChangeArrowheads="1"/>
              </p:cNvSpPr>
              <p:nvPr/>
            </p:nvSpPr>
            <p:spPr bwMode="auto">
              <a:xfrm>
                <a:off x="3227" y="1854"/>
                <a:ext cx="240" cy="11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2" name="Rectangle 68"/>
              <p:cNvSpPr>
                <a:spLocks noChangeArrowheads="1"/>
              </p:cNvSpPr>
              <p:nvPr/>
            </p:nvSpPr>
            <p:spPr bwMode="auto">
              <a:xfrm>
                <a:off x="3227" y="1875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3" name="Rectangle 69"/>
              <p:cNvSpPr>
                <a:spLocks noChangeArrowheads="1"/>
              </p:cNvSpPr>
              <p:nvPr/>
            </p:nvSpPr>
            <p:spPr bwMode="auto">
              <a:xfrm>
                <a:off x="3227" y="1783"/>
                <a:ext cx="240" cy="11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4" name="Rectangle 70"/>
              <p:cNvSpPr>
                <a:spLocks noChangeArrowheads="1"/>
              </p:cNvSpPr>
              <p:nvPr/>
            </p:nvSpPr>
            <p:spPr bwMode="auto">
              <a:xfrm>
                <a:off x="3227" y="180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5" name="Rectangle 71"/>
              <p:cNvSpPr>
                <a:spLocks noChangeArrowheads="1"/>
              </p:cNvSpPr>
              <p:nvPr/>
            </p:nvSpPr>
            <p:spPr bwMode="auto">
              <a:xfrm>
                <a:off x="3227" y="182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6" name="Rectangle 72"/>
              <p:cNvSpPr>
                <a:spLocks noChangeArrowheads="1"/>
              </p:cNvSpPr>
              <p:nvPr/>
            </p:nvSpPr>
            <p:spPr bwMode="auto">
              <a:xfrm>
                <a:off x="3227" y="184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7" name="Rectangle 73"/>
              <p:cNvSpPr>
                <a:spLocks noChangeArrowheads="1"/>
              </p:cNvSpPr>
              <p:nvPr/>
            </p:nvSpPr>
            <p:spPr bwMode="auto">
              <a:xfrm>
                <a:off x="3227" y="186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8" name="Rectangle 74"/>
              <p:cNvSpPr>
                <a:spLocks noChangeArrowheads="1"/>
              </p:cNvSpPr>
              <p:nvPr/>
            </p:nvSpPr>
            <p:spPr bwMode="auto">
              <a:xfrm>
                <a:off x="3227" y="188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9" name="Rectangle 75"/>
              <p:cNvSpPr>
                <a:spLocks noChangeArrowheads="1"/>
              </p:cNvSpPr>
              <p:nvPr/>
            </p:nvSpPr>
            <p:spPr bwMode="auto">
              <a:xfrm>
                <a:off x="3227" y="1895"/>
                <a:ext cx="240" cy="7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0" name="Freeform 76"/>
              <p:cNvSpPr>
                <a:spLocks/>
              </p:cNvSpPr>
              <p:nvPr/>
            </p:nvSpPr>
            <p:spPr bwMode="auto">
              <a:xfrm>
                <a:off x="3467" y="1773"/>
                <a:ext cx="240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41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41" h="44">
                    <a:moveTo>
                      <a:pt x="0" y="0"/>
                    </a:moveTo>
                    <a:lnTo>
                      <a:pt x="1041" y="0"/>
                    </a:lnTo>
                    <a:cubicBezTo>
                      <a:pt x="1034" y="13"/>
                      <a:pt x="1028" y="28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1" name="Freeform 77"/>
              <p:cNvSpPr>
                <a:spLocks/>
              </p:cNvSpPr>
              <p:nvPr/>
            </p:nvSpPr>
            <p:spPr bwMode="auto">
              <a:xfrm>
                <a:off x="3467" y="1794"/>
                <a:ext cx="23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07" y="14"/>
                      <a:pt x="1004" y="29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2" name="Freeform 78"/>
              <p:cNvSpPr>
                <a:spLocks/>
              </p:cNvSpPr>
              <p:nvPr/>
            </p:nvSpPr>
            <p:spPr bwMode="auto">
              <a:xfrm>
                <a:off x="3467" y="181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5" y="14"/>
                      <a:pt x="994" y="29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3" name="Freeform 79"/>
              <p:cNvSpPr>
                <a:spLocks/>
              </p:cNvSpPr>
              <p:nvPr/>
            </p:nvSpPr>
            <p:spPr bwMode="auto">
              <a:xfrm>
                <a:off x="3467" y="1834"/>
                <a:ext cx="228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1" y="22"/>
                  </a:cxn>
                  <a:cxn ang="0">
                    <a:pos x="991" y="43"/>
                  </a:cxn>
                  <a:cxn ang="0">
                    <a:pos x="0" y="43"/>
                  </a:cxn>
                  <a:cxn ang="0">
                    <a:pos x="0" y="0"/>
                  </a:cxn>
                </a:cxnLst>
                <a:rect l="0" t="0" r="r" b="b"/>
                <a:pathLst>
                  <a:path w="991" h="43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7"/>
                      <a:pt x="991" y="14"/>
                      <a:pt x="991" y="22"/>
                    </a:cubicBezTo>
                    <a:cubicBezTo>
                      <a:pt x="991" y="29"/>
                      <a:pt x="991" y="36"/>
                      <a:pt x="991" y="43"/>
                    </a:cubicBez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4" name="Freeform 80"/>
              <p:cNvSpPr>
                <a:spLocks/>
              </p:cNvSpPr>
              <p:nvPr/>
            </p:nvSpPr>
            <p:spPr bwMode="auto">
              <a:xfrm>
                <a:off x="3467" y="1854"/>
                <a:ext cx="22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4" y="15"/>
                      <a:pt x="995" y="30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5" name="Freeform 81"/>
              <p:cNvSpPr>
                <a:spLocks/>
              </p:cNvSpPr>
              <p:nvPr/>
            </p:nvSpPr>
            <p:spPr bwMode="auto">
              <a:xfrm>
                <a:off x="3467" y="1875"/>
                <a:ext cx="23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4" y="15"/>
                      <a:pt x="1007" y="30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6" name="Freeform 82"/>
              <p:cNvSpPr>
                <a:spLocks/>
              </p:cNvSpPr>
              <p:nvPr/>
            </p:nvSpPr>
            <p:spPr bwMode="auto">
              <a:xfrm>
                <a:off x="3467" y="1783"/>
                <a:ext cx="236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18" y="14"/>
                      <a:pt x="1014" y="29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7" name="Freeform 83"/>
              <p:cNvSpPr>
                <a:spLocks/>
              </p:cNvSpPr>
              <p:nvPr/>
            </p:nvSpPr>
            <p:spPr bwMode="auto">
              <a:xfrm>
                <a:off x="3467" y="1804"/>
                <a:ext cx="231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999" y="2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1" y="6"/>
                      <a:pt x="1000" y="13"/>
                      <a:pt x="999" y="20"/>
                    </a:cubicBezTo>
                    <a:cubicBezTo>
                      <a:pt x="998" y="28"/>
                      <a:pt x="997" y="36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8" name="Freeform 84"/>
              <p:cNvSpPr>
                <a:spLocks/>
              </p:cNvSpPr>
              <p:nvPr/>
            </p:nvSpPr>
            <p:spPr bwMode="auto">
              <a:xfrm>
                <a:off x="3467" y="182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1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2" y="14"/>
                      <a:pt x="991" y="29"/>
                      <a:pt x="991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9" name="Freeform 85"/>
              <p:cNvSpPr>
                <a:spLocks/>
              </p:cNvSpPr>
              <p:nvPr/>
            </p:nvSpPr>
            <p:spPr bwMode="auto">
              <a:xfrm>
                <a:off x="3467" y="184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15"/>
                      <a:pt x="992" y="30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0" name="Freeform 86"/>
              <p:cNvSpPr>
                <a:spLocks/>
              </p:cNvSpPr>
              <p:nvPr/>
            </p:nvSpPr>
            <p:spPr bwMode="auto">
              <a:xfrm>
                <a:off x="3467" y="1865"/>
                <a:ext cx="231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9" y="24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7" y="8"/>
                      <a:pt x="998" y="16"/>
                      <a:pt x="999" y="24"/>
                    </a:cubicBezTo>
                    <a:cubicBezTo>
                      <a:pt x="1000" y="31"/>
                      <a:pt x="1001" y="38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1" name="Freeform 87"/>
              <p:cNvSpPr>
                <a:spLocks/>
              </p:cNvSpPr>
              <p:nvPr/>
            </p:nvSpPr>
            <p:spPr bwMode="auto">
              <a:xfrm>
                <a:off x="3467" y="1885"/>
                <a:ext cx="236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14" y="15"/>
                      <a:pt x="1018" y="30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2" name="Freeform 88"/>
              <p:cNvSpPr>
                <a:spLocks/>
              </p:cNvSpPr>
              <p:nvPr/>
            </p:nvSpPr>
            <p:spPr bwMode="auto">
              <a:xfrm>
                <a:off x="3467" y="1895"/>
                <a:ext cx="23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34" y="29"/>
                  </a:cxn>
                  <a:cxn ang="0">
                    <a:pos x="0" y="29"/>
                  </a:cxn>
                  <a:cxn ang="0">
                    <a:pos x="0" y="0"/>
                  </a:cxn>
                </a:cxnLst>
                <a:rect l="0" t="0" r="r" b="b"/>
                <a:pathLst>
                  <a:path w="1034" h="29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26" y="10"/>
                      <a:pt x="1030" y="20"/>
                      <a:pt x="1034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3" name="Freeform 89"/>
              <p:cNvSpPr>
                <a:spLocks/>
              </p:cNvSpPr>
              <p:nvPr/>
            </p:nvSpPr>
            <p:spPr bwMode="auto">
              <a:xfrm>
                <a:off x="3212" y="1756"/>
                <a:ext cx="510" cy="163"/>
              </a:xfrm>
              <a:custGeom>
                <a:avLst/>
                <a:gdLst/>
                <a:ahLst/>
                <a:cxnLst>
                  <a:cxn ang="0">
                    <a:pos x="2216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2216" y="0"/>
                  </a:cxn>
                  <a:cxn ang="0">
                    <a:pos x="2216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2216" y="631"/>
                  </a:cxn>
                  <a:cxn ang="0">
                    <a:pos x="2216" y="707"/>
                  </a:cxn>
                </a:cxnLst>
                <a:rect l="0" t="0" r="r" b="b"/>
                <a:pathLst>
                  <a:path w="2216" h="707">
                    <a:moveTo>
                      <a:pt x="2216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2216" y="0"/>
                    </a:lnTo>
                    <a:lnTo>
                      <a:pt x="2216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2216" y="631"/>
                    </a:lnTo>
                    <a:lnTo>
                      <a:pt x="2216" y="707"/>
                    </a:ln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4" name="Freeform 90"/>
              <p:cNvSpPr>
                <a:spLocks/>
              </p:cNvSpPr>
              <p:nvPr/>
            </p:nvSpPr>
            <p:spPr bwMode="auto">
              <a:xfrm>
                <a:off x="3212" y="1756"/>
                <a:ext cx="255" cy="163"/>
              </a:xfrm>
              <a:custGeom>
                <a:avLst/>
                <a:gdLst/>
                <a:ahLst/>
                <a:cxnLst>
                  <a:cxn ang="0">
                    <a:pos x="1108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1108" y="0"/>
                  </a:cxn>
                  <a:cxn ang="0">
                    <a:pos x="1108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1108" y="631"/>
                  </a:cxn>
                  <a:cxn ang="0">
                    <a:pos x="1108" y="707"/>
                  </a:cxn>
                </a:cxnLst>
                <a:rect l="0" t="0" r="r" b="b"/>
                <a:pathLst>
                  <a:path w="1108" h="707">
                    <a:moveTo>
                      <a:pt x="1108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1108" y="0"/>
                    </a:lnTo>
                    <a:lnTo>
                      <a:pt x="1108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1108" y="631"/>
                    </a:lnTo>
                    <a:lnTo>
                      <a:pt x="1108" y="707"/>
                    </a:ln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5" name="Freeform 91"/>
              <p:cNvSpPr>
                <a:spLocks/>
              </p:cNvSpPr>
              <p:nvPr/>
            </p:nvSpPr>
            <p:spPr bwMode="auto">
              <a:xfrm>
                <a:off x="3245" y="2299"/>
                <a:ext cx="583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196"/>
                  </a:cxn>
                  <a:cxn ang="0">
                    <a:pos x="1711" y="196"/>
                  </a:cxn>
                  <a:cxn ang="0">
                    <a:pos x="1711" y="223"/>
                  </a:cxn>
                  <a:cxn ang="0">
                    <a:pos x="1711" y="250"/>
                  </a:cxn>
                  <a:cxn ang="0">
                    <a:pos x="1711" y="277"/>
                  </a:cxn>
                  <a:cxn ang="0">
                    <a:pos x="1711" y="303"/>
                  </a:cxn>
                  <a:cxn ang="0">
                    <a:pos x="1711" y="330"/>
                  </a:cxn>
                  <a:cxn ang="0">
                    <a:pos x="1711" y="357"/>
                  </a:cxn>
                  <a:cxn ang="0">
                    <a:pos x="1711" y="384"/>
                  </a:cxn>
                  <a:cxn ang="0">
                    <a:pos x="1711" y="410"/>
                  </a:cxn>
                  <a:cxn ang="0">
                    <a:pos x="1711" y="437"/>
                  </a:cxn>
                  <a:cxn ang="0">
                    <a:pos x="1711" y="464"/>
                  </a:cxn>
                  <a:cxn ang="0">
                    <a:pos x="1711" y="490"/>
                  </a:cxn>
                  <a:cxn ang="0">
                    <a:pos x="1711" y="517"/>
                  </a:cxn>
                  <a:cxn ang="0">
                    <a:pos x="1711" y="533"/>
                  </a:cxn>
                  <a:cxn ang="0">
                    <a:pos x="1657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196"/>
                    </a:lnTo>
                    <a:lnTo>
                      <a:pt x="1711" y="196"/>
                    </a:lnTo>
                    <a:lnTo>
                      <a:pt x="1711" y="223"/>
                    </a:lnTo>
                    <a:lnTo>
                      <a:pt x="1711" y="250"/>
                    </a:lnTo>
                    <a:lnTo>
                      <a:pt x="1711" y="277"/>
                    </a:lnTo>
                    <a:lnTo>
                      <a:pt x="1711" y="303"/>
                    </a:lnTo>
                    <a:lnTo>
                      <a:pt x="1711" y="330"/>
                    </a:lnTo>
                    <a:lnTo>
                      <a:pt x="1711" y="357"/>
                    </a:lnTo>
                    <a:lnTo>
                      <a:pt x="1711" y="384"/>
                    </a:lnTo>
                    <a:lnTo>
                      <a:pt x="1711" y="410"/>
                    </a:lnTo>
                    <a:lnTo>
                      <a:pt x="1711" y="437"/>
                    </a:lnTo>
                    <a:lnTo>
                      <a:pt x="1711" y="464"/>
                    </a:lnTo>
                    <a:lnTo>
                      <a:pt x="1711" y="490"/>
                    </a:lnTo>
                    <a:lnTo>
                      <a:pt x="1711" y="517"/>
                    </a:lnTo>
                    <a:lnTo>
                      <a:pt x="1711" y="533"/>
                    </a:lnTo>
                    <a:lnTo>
                      <a:pt x="1657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6" name="Freeform 92"/>
              <p:cNvSpPr>
                <a:spLocks/>
              </p:cNvSpPr>
              <p:nvPr/>
            </p:nvSpPr>
            <p:spPr bwMode="auto">
              <a:xfrm>
                <a:off x="3245" y="2299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7" name="Rectangle 93"/>
              <p:cNvSpPr>
                <a:spLocks noChangeArrowheads="1"/>
              </p:cNvSpPr>
              <p:nvPr/>
            </p:nvSpPr>
            <p:spPr bwMode="auto">
              <a:xfrm>
                <a:off x="3730" y="2306"/>
                <a:ext cx="49" cy="3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8" name="Rectangle 94"/>
              <p:cNvSpPr>
                <a:spLocks noChangeArrowheads="1"/>
              </p:cNvSpPr>
              <p:nvPr/>
            </p:nvSpPr>
            <p:spPr bwMode="auto">
              <a:xfrm>
                <a:off x="3303" y="2306"/>
                <a:ext cx="49" cy="10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9" name="Rectangle 95"/>
              <p:cNvSpPr>
                <a:spLocks noChangeArrowheads="1"/>
              </p:cNvSpPr>
              <p:nvPr/>
            </p:nvSpPr>
            <p:spPr bwMode="auto">
              <a:xfrm>
                <a:off x="3712" y="2306"/>
                <a:ext cx="12" cy="3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0" name="Rectangle 96"/>
              <p:cNvSpPr>
                <a:spLocks noChangeArrowheads="1"/>
              </p:cNvSpPr>
              <p:nvPr/>
            </p:nvSpPr>
            <p:spPr bwMode="auto">
              <a:xfrm>
                <a:off x="3285" y="2306"/>
                <a:ext cx="11" cy="109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1" name="Freeform 97"/>
              <p:cNvSpPr>
                <a:spLocks/>
              </p:cNvSpPr>
              <p:nvPr/>
            </p:nvSpPr>
            <p:spPr bwMode="auto">
              <a:xfrm>
                <a:off x="3210" y="2176"/>
                <a:ext cx="583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2494" y="0"/>
                  </a:cxn>
                  <a:cxn ang="0">
                    <a:pos x="2530" y="36"/>
                  </a:cxn>
                  <a:cxn ang="0">
                    <a:pos x="2530" y="496"/>
                  </a:cxn>
                  <a:cxn ang="0">
                    <a:pos x="2494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2530" h="533">
                    <a:moveTo>
                      <a:pt x="37" y="0"/>
                    </a:moveTo>
                    <a:lnTo>
                      <a:pt x="2494" y="0"/>
                    </a:lnTo>
                    <a:cubicBezTo>
                      <a:pt x="2514" y="0"/>
                      <a:pt x="2530" y="16"/>
                      <a:pt x="2530" y="36"/>
                    </a:cubicBezTo>
                    <a:lnTo>
                      <a:pt x="2530" y="496"/>
                    </a:lnTo>
                    <a:cubicBezTo>
                      <a:pt x="2530" y="516"/>
                      <a:pt x="2514" y="533"/>
                      <a:pt x="2494" y="533"/>
                    </a:cubicBez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2" name="Freeform 98"/>
              <p:cNvSpPr>
                <a:spLocks/>
              </p:cNvSpPr>
              <p:nvPr/>
            </p:nvSpPr>
            <p:spPr bwMode="auto">
              <a:xfrm>
                <a:off x="3210" y="2176"/>
                <a:ext cx="291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265" y="0"/>
                  </a:cxn>
                  <a:cxn ang="0">
                    <a:pos x="1265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1265" h="533">
                    <a:moveTo>
                      <a:pt x="37" y="0"/>
                    </a:moveTo>
                    <a:lnTo>
                      <a:pt x="1265" y="0"/>
                    </a:lnTo>
                    <a:lnTo>
                      <a:pt x="1265" y="533"/>
                    </a:ln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3" name="Rectangle 99"/>
              <p:cNvSpPr>
                <a:spLocks noChangeArrowheads="1"/>
              </p:cNvSpPr>
              <p:nvPr/>
            </p:nvSpPr>
            <p:spPr bwMode="auto">
              <a:xfrm>
                <a:off x="3695" y="2183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4" name="Rectangle 100"/>
              <p:cNvSpPr>
                <a:spLocks noChangeArrowheads="1"/>
              </p:cNvSpPr>
              <p:nvPr/>
            </p:nvSpPr>
            <p:spPr bwMode="auto">
              <a:xfrm>
                <a:off x="3268" y="2183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5" name="Rectangle 101"/>
              <p:cNvSpPr>
                <a:spLocks noChangeArrowheads="1"/>
              </p:cNvSpPr>
              <p:nvPr/>
            </p:nvSpPr>
            <p:spPr bwMode="auto">
              <a:xfrm>
                <a:off x="3677" y="2183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6" name="Rectangle 102"/>
              <p:cNvSpPr>
                <a:spLocks noChangeArrowheads="1"/>
              </p:cNvSpPr>
              <p:nvPr/>
            </p:nvSpPr>
            <p:spPr bwMode="auto">
              <a:xfrm>
                <a:off x="3249" y="2183"/>
                <a:ext cx="12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7" name="Freeform 103"/>
              <p:cNvSpPr>
                <a:spLocks/>
              </p:cNvSpPr>
              <p:nvPr/>
            </p:nvSpPr>
            <p:spPr bwMode="auto">
              <a:xfrm>
                <a:off x="3245" y="2053"/>
                <a:ext cx="583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496"/>
                  </a:cxn>
                  <a:cxn ang="0">
                    <a:pos x="2493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496"/>
                    </a:lnTo>
                    <a:cubicBezTo>
                      <a:pt x="2529" y="516"/>
                      <a:pt x="2513" y="533"/>
                      <a:pt x="2493" y="533"/>
                    </a:cubicBez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8" name="Freeform 104"/>
              <p:cNvSpPr>
                <a:spLocks/>
              </p:cNvSpPr>
              <p:nvPr/>
            </p:nvSpPr>
            <p:spPr bwMode="auto">
              <a:xfrm>
                <a:off x="3245" y="2053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9" name="Rectangle 105"/>
              <p:cNvSpPr>
                <a:spLocks noChangeArrowheads="1"/>
              </p:cNvSpPr>
              <p:nvPr/>
            </p:nvSpPr>
            <p:spPr bwMode="auto">
              <a:xfrm>
                <a:off x="3730" y="2060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0" name="Rectangle 106"/>
              <p:cNvSpPr>
                <a:spLocks noChangeArrowheads="1"/>
              </p:cNvSpPr>
              <p:nvPr/>
            </p:nvSpPr>
            <p:spPr bwMode="auto">
              <a:xfrm>
                <a:off x="3303" y="2060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1" name="Rectangle 107"/>
              <p:cNvSpPr>
                <a:spLocks noChangeArrowheads="1"/>
              </p:cNvSpPr>
              <p:nvPr/>
            </p:nvSpPr>
            <p:spPr bwMode="auto">
              <a:xfrm>
                <a:off x="3712" y="2060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2" name="Rectangle 108"/>
              <p:cNvSpPr>
                <a:spLocks noChangeArrowheads="1"/>
              </p:cNvSpPr>
              <p:nvPr/>
            </p:nvSpPr>
            <p:spPr bwMode="auto">
              <a:xfrm>
                <a:off x="3285" y="2060"/>
                <a:ext cx="11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3" name="Freeform 109"/>
              <p:cNvSpPr>
                <a:spLocks/>
              </p:cNvSpPr>
              <p:nvPr/>
            </p:nvSpPr>
            <p:spPr bwMode="auto">
              <a:xfrm>
                <a:off x="3172" y="2422"/>
                <a:ext cx="498" cy="14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975" y="0"/>
                  </a:cxn>
                  <a:cxn ang="0">
                    <a:pos x="1975" y="74"/>
                  </a:cxn>
                  <a:cxn ang="0">
                    <a:pos x="2029" y="74"/>
                  </a:cxn>
                  <a:cxn ang="0">
                    <a:pos x="2163" y="74"/>
                  </a:cxn>
                  <a:cxn ang="0">
                    <a:pos x="2048" y="254"/>
                  </a:cxn>
                  <a:cxn ang="0">
                    <a:pos x="2042" y="358"/>
                  </a:cxn>
                  <a:cxn ang="0">
                    <a:pos x="2048" y="461"/>
                  </a:cxn>
                  <a:cxn ang="0">
                    <a:pos x="2107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2163" h="617">
                    <a:moveTo>
                      <a:pt x="42" y="0"/>
                    </a:moveTo>
                    <a:lnTo>
                      <a:pt x="1975" y="0"/>
                    </a:lnTo>
                    <a:lnTo>
                      <a:pt x="1975" y="74"/>
                    </a:lnTo>
                    <a:lnTo>
                      <a:pt x="2029" y="74"/>
                    </a:lnTo>
                    <a:lnTo>
                      <a:pt x="2163" y="74"/>
                    </a:lnTo>
                    <a:cubicBezTo>
                      <a:pt x="2098" y="74"/>
                      <a:pt x="2061" y="153"/>
                      <a:pt x="2048" y="254"/>
                    </a:cubicBezTo>
                    <a:cubicBezTo>
                      <a:pt x="2044" y="288"/>
                      <a:pt x="2042" y="323"/>
                      <a:pt x="2042" y="358"/>
                    </a:cubicBezTo>
                    <a:cubicBezTo>
                      <a:pt x="2042" y="392"/>
                      <a:pt x="2044" y="428"/>
                      <a:pt x="2048" y="461"/>
                    </a:cubicBezTo>
                    <a:cubicBezTo>
                      <a:pt x="2057" y="528"/>
                      <a:pt x="2076" y="586"/>
                      <a:pt x="2107" y="617"/>
                    </a:cubicBez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4" name="Freeform 110"/>
              <p:cNvSpPr>
                <a:spLocks/>
              </p:cNvSpPr>
              <p:nvPr/>
            </p:nvSpPr>
            <p:spPr bwMode="auto">
              <a:xfrm>
                <a:off x="3172" y="2422"/>
                <a:ext cx="337" cy="14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465" y="0"/>
                  </a:cxn>
                  <a:cxn ang="0">
                    <a:pos x="1465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1465" h="617">
                    <a:moveTo>
                      <a:pt x="42" y="0"/>
                    </a:moveTo>
                    <a:lnTo>
                      <a:pt x="1465" y="0"/>
                    </a:lnTo>
                    <a:lnTo>
                      <a:pt x="1465" y="617"/>
                    </a:ln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5" name="Rectangle 111"/>
              <p:cNvSpPr>
                <a:spLocks noChangeArrowheads="1"/>
              </p:cNvSpPr>
              <p:nvPr/>
            </p:nvSpPr>
            <p:spPr bwMode="auto">
              <a:xfrm>
                <a:off x="3239" y="2431"/>
                <a:ext cx="56" cy="125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6" name="Rectangle 112"/>
              <p:cNvSpPr>
                <a:spLocks noChangeArrowheads="1"/>
              </p:cNvSpPr>
              <p:nvPr/>
            </p:nvSpPr>
            <p:spPr bwMode="auto">
              <a:xfrm>
                <a:off x="3218" y="2431"/>
                <a:ext cx="13" cy="125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7" name="Freeform 113"/>
              <p:cNvSpPr>
                <a:spLocks/>
              </p:cNvSpPr>
              <p:nvPr/>
            </p:nvSpPr>
            <p:spPr bwMode="auto">
              <a:xfrm>
                <a:off x="3509" y="2459"/>
                <a:ext cx="140" cy="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06" y="0"/>
                  </a:cxn>
                  <a:cxn ang="0">
                    <a:pos x="583" y="95"/>
                  </a:cxn>
                  <a:cxn ang="0">
                    <a:pos x="577" y="199"/>
                  </a:cxn>
                  <a:cxn ang="0">
                    <a:pos x="583" y="298"/>
                  </a:cxn>
                  <a:cxn ang="0">
                    <a:pos x="0" y="298"/>
                  </a:cxn>
                  <a:cxn ang="0">
                    <a:pos x="0" y="0"/>
                  </a:cxn>
                </a:cxnLst>
                <a:rect l="0" t="0" r="r" b="b"/>
                <a:pathLst>
                  <a:path w="606" h="298">
                    <a:moveTo>
                      <a:pt x="0" y="0"/>
                    </a:moveTo>
                    <a:lnTo>
                      <a:pt x="606" y="0"/>
                    </a:lnTo>
                    <a:cubicBezTo>
                      <a:pt x="595" y="28"/>
                      <a:pt x="588" y="60"/>
                      <a:pt x="583" y="95"/>
                    </a:cubicBezTo>
                    <a:cubicBezTo>
                      <a:pt x="579" y="129"/>
                      <a:pt x="577" y="164"/>
                      <a:pt x="577" y="199"/>
                    </a:cubicBezTo>
                    <a:cubicBezTo>
                      <a:pt x="577" y="232"/>
                      <a:pt x="579" y="266"/>
                      <a:pt x="583" y="298"/>
                    </a:cubicBezTo>
                    <a:lnTo>
                      <a:pt x="0" y="2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8" name="Rectangle 114"/>
              <p:cNvSpPr>
                <a:spLocks noChangeArrowheads="1"/>
              </p:cNvSpPr>
              <p:nvPr/>
            </p:nvSpPr>
            <p:spPr bwMode="auto">
              <a:xfrm>
                <a:off x="3333" y="2459"/>
                <a:ext cx="176" cy="6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9" name="Rectangle 115"/>
              <p:cNvSpPr>
                <a:spLocks noChangeArrowheads="1"/>
              </p:cNvSpPr>
              <p:nvPr/>
            </p:nvSpPr>
            <p:spPr bwMode="auto">
              <a:xfrm>
                <a:off x="3536" y="2090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0" name="Rectangle 116"/>
              <p:cNvSpPr>
                <a:spLocks noChangeArrowheads="1"/>
              </p:cNvSpPr>
              <p:nvPr/>
            </p:nvSpPr>
            <p:spPr bwMode="auto">
              <a:xfrm>
                <a:off x="3410" y="2090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1" name="Rectangle 117"/>
              <p:cNvSpPr>
                <a:spLocks noChangeArrowheads="1"/>
              </p:cNvSpPr>
              <p:nvPr/>
            </p:nvSpPr>
            <p:spPr bwMode="auto">
              <a:xfrm>
                <a:off x="3501" y="2213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2" name="Rectangle 118"/>
              <p:cNvSpPr>
                <a:spLocks noChangeArrowheads="1"/>
              </p:cNvSpPr>
              <p:nvPr/>
            </p:nvSpPr>
            <p:spPr bwMode="auto">
              <a:xfrm>
                <a:off x="3375" y="2213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3" name="Rectangle 119"/>
              <p:cNvSpPr>
                <a:spLocks noChangeArrowheads="1"/>
              </p:cNvSpPr>
              <p:nvPr/>
            </p:nvSpPr>
            <p:spPr bwMode="auto">
              <a:xfrm>
                <a:off x="3649" y="2460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4" name="Rectangle 120"/>
              <p:cNvSpPr>
                <a:spLocks noChangeArrowheads="1"/>
              </p:cNvSpPr>
              <p:nvPr/>
            </p:nvSpPr>
            <p:spPr bwMode="auto">
              <a:xfrm>
                <a:off x="3649" y="2474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5" name="Rectangle 121"/>
              <p:cNvSpPr>
                <a:spLocks noChangeArrowheads="1"/>
              </p:cNvSpPr>
              <p:nvPr/>
            </p:nvSpPr>
            <p:spPr bwMode="auto">
              <a:xfrm>
                <a:off x="3649" y="2488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6" name="Rectangle 122"/>
              <p:cNvSpPr>
                <a:spLocks noChangeArrowheads="1"/>
              </p:cNvSpPr>
              <p:nvPr/>
            </p:nvSpPr>
            <p:spPr bwMode="auto">
              <a:xfrm>
                <a:off x="3649" y="2503"/>
                <a:ext cx="319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7" name="Rectangle 123"/>
              <p:cNvSpPr>
                <a:spLocks noChangeArrowheads="1"/>
              </p:cNvSpPr>
              <p:nvPr/>
            </p:nvSpPr>
            <p:spPr bwMode="auto">
              <a:xfrm>
                <a:off x="3649" y="2517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8" name="Rectangle 124"/>
              <p:cNvSpPr>
                <a:spLocks noChangeArrowheads="1"/>
              </p:cNvSpPr>
              <p:nvPr/>
            </p:nvSpPr>
            <p:spPr bwMode="auto">
              <a:xfrm>
                <a:off x="3649" y="2531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9" name="Rectangle 125"/>
              <p:cNvSpPr>
                <a:spLocks noChangeArrowheads="1"/>
              </p:cNvSpPr>
              <p:nvPr/>
            </p:nvSpPr>
            <p:spPr bwMode="auto">
              <a:xfrm>
                <a:off x="3649" y="2467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0" name="Rectangle 126"/>
              <p:cNvSpPr>
                <a:spLocks noChangeArrowheads="1"/>
              </p:cNvSpPr>
              <p:nvPr/>
            </p:nvSpPr>
            <p:spPr bwMode="auto">
              <a:xfrm>
                <a:off x="3649" y="2481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1" name="Rectangle 127"/>
              <p:cNvSpPr>
                <a:spLocks noChangeArrowheads="1"/>
              </p:cNvSpPr>
              <p:nvPr/>
            </p:nvSpPr>
            <p:spPr bwMode="auto">
              <a:xfrm>
                <a:off x="3649" y="2495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2" name="Rectangle 128"/>
              <p:cNvSpPr>
                <a:spLocks noChangeArrowheads="1"/>
              </p:cNvSpPr>
              <p:nvPr/>
            </p:nvSpPr>
            <p:spPr bwMode="auto">
              <a:xfrm>
                <a:off x="3649" y="2509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3" name="Rectangle 129"/>
              <p:cNvSpPr>
                <a:spLocks noChangeArrowheads="1"/>
              </p:cNvSpPr>
              <p:nvPr/>
            </p:nvSpPr>
            <p:spPr bwMode="auto">
              <a:xfrm>
                <a:off x="3649" y="2524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4" name="Rectangle 130"/>
              <p:cNvSpPr>
                <a:spLocks noChangeArrowheads="1"/>
              </p:cNvSpPr>
              <p:nvPr/>
            </p:nvSpPr>
            <p:spPr bwMode="auto">
              <a:xfrm>
                <a:off x="3649" y="2538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5" name="Rectangle 131"/>
              <p:cNvSpPr>
                <a:spLocks noChangeArrowheads="1"/>
              </p:cNvSpPr>
              <p:nvPr/>
            </p:nvSpPr>
            <p:spPr bwMode="auto">
              <a:xfrm>
                <a:off x="3649" y="2545"/>
                <a:ext cx="319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6" name="Freeform 132"/>
              <p:cNvSpPr>
                <a:spLocks/>
              </p:cNvSpPr>
              <p:nvPr/>
            </p:nvSpPr>
            <p:spPr bwMode="auto">
              <a:xfrm>
                <a:off x="3968" y="2460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68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7" h="30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4" y="9"/>
                      <a:pt x="1370" y="20"/>
                      <a:pt x="1368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8" name="Freeform 133"/>
              <p:cNvSpPr>
                <a:spLocks/>
              </p:cNvSpPr>
              <p:nvPr/>
            </p:nvSpPr>
            <p:spPr bwMode="auto">
              <a:xfrm>
                <a:off x="3968" y="2474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1" y="0"/>
                  </a:cxn>
                  <a:cxn ang="0">
                    <a:pos x="1356" y="29"/>
                  </a:cxn>
                  <a:cxn ang="0">
                    <a:pos x="135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1" h="31">
                    <a:moveTo>
                      <a:pt x="0" y="0"/>
                    </a:moveTo>
                    <a:lnTo>
                      <a:pt x="1361" y="0"/>
                    </a:lnTo>
                    <a:cubicBezTo>
                      <a:pt x="1359" y="10"/>
                      <a:pt x="1358" y="19"/>
                      <a:pt x="1356" y="29"/>
                    </a:cubicBezTo>
                    <a:lnTo>
                      <a:pt x="1356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9" name="Freeform 134"/>
              <p:cNvSpPr>
                <a:spLocks/>
              </p:cNvSpPr>
              <p:nvPr/>
            </p:nvSpPr>
            <p:spPr bwMode="auto">
              <a:xfrm>
                <a:off x="3968" y="2488"/>
                <a:ext cx="31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3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3" h="31">
                    <a:moveTo>
                      <a:pt x="0" y="0"/>
                    </a:moveTo>
                    <a:lnTo>
                      <a:pt x="1353" y="0"/>
                    </a:lnTo>
                    <a:cubicBezTo>
                      <a:pt x="1352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0" name="Freeform 135"/>
              <p:cNvSpPr>
                <a:spLocks/>
              </p:cNvSpPr>
              <p:nvPr/>
            </p:nvSpPr>
            <p:spPr bwMode="auto">
              <a:xfrm>
                <a:off x="3968" y="2503"/>
                <a:ext cx="311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0" y="10"/>
                  </a:cxn>
                  <a:cxn ang="0">
                    <a:pos x="135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0" h="30">
                    <a:moveTo>
                      <a:pt x="0" y="0"/>
                    </a:moveTo>
                    <a:lnTo>
                      <a:pt x="1350" y="0"/>
                    </a:lnTo>
                    <a:lnTo>
                      <a:pt x="1350" y="10"/>
                    </a:lnTo>
                    <a:cubicBezTo>
                      <a:pt x="1350" y="17"/>
                      <a:pt x="1350" y="23"/>
                      <a:pt x="135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1" name="Freeform 136"/>
              <p:cNvSpPr>
                <a:spLocks/>
              </p:cNvSpPr>
              <p:nvPr/>
            </p:nvSpPr>
            <p:spPr bwMode="auto">
              <a:xfrm>
                <a:off x="3968" y="2517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4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4" h="30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2" y="10"/>
                      <a:pt x="1353" y="20"/>
                      <a:pt x="1354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2" name="Freeform 137"/>
              <p:cNvSpPr>
                <a:spLocks/>
              </p:cNvSpPr>
              <p:nvPr/>
            </p:nvSpPr>
            <p:spPr bwMode="auto">
              <a:xfrm>
                <a:off x="3968" y="2531"/>
                <a:ext cx="314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8" y="0"/>
                  </a:cxn>
                  <a:cxn ang="0">
                    <a:pos x="136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3" h="31">
                    <a:moveTo>
                      <a:pt x="0" y="0"/>
                    </a:moveTo>
                    <a:lnTo>
                      <a:pt x="1358" y="0"/>
                    </a:lnTo>
                    <a:cubicBezTo>
                      <a:pt x="1359" y="11"/>
                      <a:pt x="1361" y="21"/>
                      <a:pt x="136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3" name="Freeform 138"/>
              <p:cNvSpPr>
                <a:spLocks/>
              </p:cNvSpPr>
              <p:nvPr/>
            </p:nvSpPr>
            <p:spPr bwMode="auto">
              <a:xfrm>
                <a:off x="3968" y="2467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8" y="0"/>
                  </a:cxn>
                  <a:cxn ang="0">
                    <a:pos x="136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8" h="31">
                    <a:moveTo>
                      <a:pt x="0" y="0"/>
                    </a:moveTo>
                    <a:lnTo>
                      <a:pt x="1368" y="0"/>
                    </a:lnTo>
                    <a:cubicBezTo>
                      <a:pt x="1365" y="10"/>
                      <a:pt x="1363" y="20"/>
                      <a:pt x="136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4" name="Freeform 139"/>
              <p:cNvSpPr>
                <a:spLocks/>
              </p:cNvSpPr>
              <p:nvPr/>
            </p:nvSpPr>
            <p:spPr bwMode="auto">
              <a:xfrm>
                <a:off x="3968" y="2481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6" y="0"/>
                  </a:cxn>
                  <a:cxn ang="0">
                    <a:pos x="1353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6" h="30">
                    <a:moveTo>
                      <a:pt x="0" y="0"/>
                    </a:moveTo>
                    <a:lnTo>
                      <a:pt x="1356" y="0"/>
                    </a:lnTo>
                    <a:cubicBezTo>
                      <a:pt x="1355" y="10"/>
                      <a:pt x="1354" y="20"/>
                      <a:pt x="135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5" name="Freeform 140"/>
              <p:cNvSpPr>
                <a:spLocks/>
              </p:cNvSpPr>
              <p:nvPr/>
            </p:nvSpPr>
            <p:spPr bwMode="auto">
              <a:xfrm>
                <a:off x="3968" y="2495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0" y="10"/>
                      <a:pt x="1350" y="20"/>
                      <a:pt x="1350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6" name="Freeform 141"/>
              <p:cNvSpPr>
                <a:spLocks/>
              </p:cNvSpPr>
              <p:nvPr/>
            </p:nvSpPr>
            <p:spPr bwMode="auto">
              <a:xfrm>
                <a:off x="3968" y="2509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0" y="0"/>
                    </a:lnTo>
                    <a:cubicBezTo>
                      <a:pt x="1350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7" name="Freeform 142"/>
              <p:cNvSpPr>
                <a:spLocks/>
              </p:cNvSpPr>
              <p:nvPr/>
            </p:nvSpPr>
            <p:spPr bwMode="auto">
              <a:xfrm>
                <a:off x="3968" y="2524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4" y="0"/>
                  </a:cxn>
                  <a:cxn ang="0">
                    <a:pos x="1356" y="22"/>
                  </a:cxn>
                  <a:cxn ang="0">
                    <a:pos x="1358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8" h="31">
                    <a:moveTo>
                      <a:pt x="0" y="0"/>
                    </a:moveTo>
                    <a:lnTo>
                      <a:pt x="1354" y="0"/>
                    </a:lnTo>
                    <a:cubicBezTo>
                      <a:pt x="1355" y="8"/>
                      <a:pt x="1355" y="15"/>
                      <a:pt x="1356" y="22"/>
                    </a:cubicBezTo>
                    <a:lnTo>
                      <a:pt x="1358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8" name="Freeform 143"/>
              <p:cNvSpPr>
                <a:spLocks/>
              </p:cNvSpPr>
              <p:nvPr/>
            </p:nvSpPr>
            <p:spPr bwMode="auto">
              <a:xfrm>
                <a:off x="3968" y="2538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3" y="0"/>
                  </a:cxn>
                  <a:cxn ang="0">
                    <a:pos x="137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0" h="30">
                    <a:moveTo>
                      <a:pt x="0" y="0"/>
                    </a:moveTo>
                    <a:lnTo>
                      <a:pt x="1363" y="0"/>
                    </a:lnTo>
                    <a:cubicBezTo>
                      <a:pt x="1365" y="10"/>
                      <a:pt x="1368" y="21"/>
                      <a:pt x="137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9" name="Freeform 144"/>
              <p:cNvSpPr>
                <a:spLocks/>
              </p:cNvSpPr>
              <p:nvPr/>
            </p:nvSpPr>
            <p:spPr bwMode="auto">
              <a:xfrm>
                <a:off x="3968" y="2545"/>
                <a:ext cx="317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0" y="0"/>
                  </a:cxn>
                  <a:cxn ang="0">
                    <a:pos x="1377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377" h="21">
                    <a:moveTo>
                      <a:pt x="0" y="0"/>
                    </a:moveTo>
                    <a:lnTo>
                      <a:pt x="1370" y="0"/>
                    </a:lnTo>
                    <a:cubicBezTo>
                      <a:pt x="1373" y="8"/>
                      <a:pt x="1375" y="14"/>
                      <a:pt x="137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0" name="Freeform 145"/>
              <p:cNvSpPr>
                <a:spLocks/>
              </p:cNvSpPr>
              <p:nvPr/>
            </p:nvSpPr>
            <p:spPr bwMode="auto">
              <a:xfrm>
                <a:off x="3642" y="2439"/>
                <a:ext cx="652" cy="131"/>
              </a:xfrm>
              <a:custGeom>
                <a:avLst/>
                <a:gdLst/>
                <a:ahLst/>
                <a:cxnLst>
                  <a:cxn ang="0">
                    <a:pos x="2829" y="568"/>
                  </a:cxn>
                  <a:cxn ang="0">
                    <a:pos x="121" y="568"/>
                  </a:cxn>
                  <a:cxn ang="0">
                    <a:pos x="6" y="387"/>
                  </a:cxn>
                  <a:cxn ang="0">
                    <a:pos x="0" y="284"/>
                  </a:cxn>
                  <a:cxn ang="0">
                    <a:pos x="6" y="180"/>
                  </a:cxn>
                  <a:cxn ang="0">
                    <a:pos x="121" y="0"/>
                  </a:cxn>
                  <a:cxn ang="0">
                    <a:pos x="2829" y="0"/>
                  </a:cxn>
                  <a:cxn ang="0">
                    <a:pos x="2829" y="90"/>
                  </a:cxn>
                  <a:cxn ang="0">
                    <a:pos x="121" y="90"/>
                  </a:cxn>
                  <a:cxn ang="0">
                    <a:pos x="95" y="192"/>
                  </a:cxn>
                  <a:cxn ang="0">
                    <a:pos x="90" y="284"/>
                  </a:cxn>
                  <a:cxn ang="0">
                    <a:pos x="95" y="376"/>
                  </a:cxn>
                  <a:cxn ang="0">
                    <a:pos x="121" y="478"/>
                  </a:cxn>
                  <a:cxn ang="0">
                    <a:pos x="2829" y="478"/>
                  </a:cxn>
                  <a:cxn ang="0">
                    <a:pos x="2829" y="568"/>
                  </a:cxn>
                </a:cxnLst>
                <a:rect l="0" t="0" r="r" b="b"/>
                <a:pathLst>
                  <a:path w="2829" h="568">
                    <a:moveTo>
                      <a:pt x="2829" y="568"/>
                    </a:moveTo>
                    <a:lnTo>
                      <a:pt x="121" y="568"/>
                    </a:lnTo>
                    <a:cubicBezTo>
                      <a:pt x="56" y="568"/>
                      <a:pt x="19" y="489"/>
                      <a:pt x="6" y="387"/>
                    </a:cubicBezTo>
                    <a:cubicBezTo>
                      <a:pt x="2" y="354"/>
                      <a:pt x="0" y="318"/>
                      <a:pt x="0" y="284"/>
                    </a:cubicBezTo>
                    <a:cubicBezTo>
                      <a:pt x="0" y="249"/>
                      <a:pt x="2" y="214"/>
                      <a:pt x="6" y="180"/>
                    </a:cubicBezTo>
                    <a:cubicBezTo>
                      <a:pt x="19" y="79"/>
                      <a:pt x="56" y="0"/>
                      <a:pt x="121" y="0"/>
                    </a:cubicBezTo>
                    <a:lnTo>
                      <a:pt x="2829" y="0"/>
                    </a:lnTo>
                    <a:lnTo>
                      <a:pt x="2829" y="90"/>
                    </a:lnTo>
                    <a:lnTo>
                      <a:pt x="121" y="90"/>
                    </a:lnTo>
                    <a:cubicBezTo>
                      <a:pt x="112" y="90"/>
                      <a:pt x="102" y="134"/>
                      <a:pt x="95" y="192"/>
                    </a:cubicBezTo>
                    <a:cubicBezTo>
                      <a:pt x="91" y="220"/>
                      <a:pt x="90" y="251"/>
                      <a:pt x="90" y="284"/>
                    </a:cubicBezTo>
                    <a:cubicBezTo>
                      <a:pt x="90" y="316"/>
                      <a:pt x="91" y="348"/>
                      <a:pt x="95" y="376"/>
                    </a:cubicBezTo>
                    <a:cubicBezTo>
                      <a:pt x="102" y="433"/>
                      <a:pt x="112" y="478"/>
                      <a:pt x="121" y="478"/>
                    </a:cubicBezTo>
                    <a:lnTo>
                      <a:pt x="2829" y="478"/>
                    </a:lnTo>
                    <a:lnTo>
                      <a:pt x="2829" y="568"/>
                    </a:lnTo>
                    <a:close/>
                  </a:path>
                </a:pathLst>
              </a:custGeom>
              <a:solidFill>
                <a:srgbClr val="27D3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1" name="Freeform 146"/>
              <p:cNvSpPr>
                <a:spLocks noEditPoints="1"/>
              </p:cNvSpPr>
              <p:nvPr/>
            </p:nvSpPr>
            <p:spPr bwMode="auto">
              <a:xfrm>
                <a:off x="3968" y="2439"/>
                <a:ext cx="326" cy="131"/>
              </a:xfrm>
              <a:custGeom>
                <a:avLst/>
                <a:gdLst/>
                <a:ahLst/>
                <a:cxnLst>
                  <a:cxn ang="0">
                    <a:pos x="1415" y="568"/>
                  </a:cxn>
                  <a:cxn ang="0">
                    <a:pos x="0" y="568"/>
                  </a:cxn>
                  <a:cxn ang="0">
                    <a:pos x="0" y="478"/>
                  </a:cxn>
                  <a:cxn ang="0">
                    <a:pos x="1415" y="478"/>
                  </a:cxn>
                  <a:cxn ang="0">
                    <a:pos x="1415" y="568"/>
                  </a:cxn>
                  <a:cxn ang="0">
                    <a:pos x="0" y="0"/>
                  </a:cxn>
                  <a:cxn ang="0">
                    <a:pos x="1415" y="0"/>
                  </a:cxn>
                  <a:cxn ang="0">
                    <a:pos x="1415" y="90"/>
                  </a:cxn>
                  <a:cxn ang="0">
                    <a:pos x="0" y="90"/>
                  </a:cxn>
                  <a:cxn ang="0">
                    <a:pos x="0" y="0"/>
                  </a:cxn>
                </a:cxnLst>
                <a:rect l="0" t="0" r="r" b="b"/>
                <a:pathLst>
                  <a:path w="1415" h="568">
                    <a:moveTo>
                      <a:pt x="1415" y="568"/>
                    </a:moveTo>
                    <a:lnTo>
                      <a:pt x="0" y="568"/>
                    </a:lnTo>
                    <a:lnTo>
                      <a:pt x="0" y="478"/>
                    </a:lnTo>
                    <a:lnTo>
                      <a:pt x="1415" y="478"/>
                    </a:lnTo>
                    <a:lnTo>
                      <a:pt x="1415" y="568"/>
                    </a:lnTo>
                    <a:close/>
                    <a:moveTo>
                      <a:pt x="0" y="0"/>
                    </a:moveTo>
                    <a:lnTo>
                      <a:pt x="1415" y="0"/>
                    </a:lnTo>
                    <a:lnTo>
                      <a:pt x="1415" y="90"/>
                    </a:lnTo>
                    <a:lnTo>
                      <a:pt x="0" y="9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2" name="Rectangle 147"/>
              <p:cNvSpPr>
                <a:spLocks noChangeArrowheads="1"/>
              </p:cNvSpPr>
              <p:nvPr/>
            </p:nvSpPr>
            <p:spPr bwMode="auto">
              <a:xfrm>
                <a:off x="3974" y="2403"/>
                <a:ext cx="237" cy="15"/>
              </a:xfrm>
              <a:prstGeom prst="rect">
                <a:avLst/>
              </a:prstGeom>
              <a:solidFill>
                <a:srgbClr val="AAC7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3" name="Rectangle 148"/>
              <p:cNvSpPr>
                <a:spLocks noChangeArrowheads="1"/>
              </p:cNvSpPr>
              <p:nvPr/>
            </p:nvSpPr>
            <p:spPr bwMode="auto">
              <a:xfrm>
                <a:off x="3960" y="2418"/>
                <a:ext cx="265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4" name="Rectangle 149"/>
              <p:cNvSpPr>
                <a:spLocks noChangeArrowheads="1"/>
              </p:cNvSpPr>
              <p:nvPr/>
            </p:nvSpPr>
            <p:spPr bwMode="auto">
              <a:xfrm>
                <a:off x="4072" y="2423"/>
                <a:ext cx="446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5" name="Rectangle 150"/>
              <p:cNvSpPr>
                <a:spLocks noChangeArrowheads="1"/>
              </p:cNvSpPr>
              <p:nvPr/>
            </p:nvSpPr>
            <p:spPr bwMode="auto">
              <a:xfrm>
                <a:off x="3639" y="2344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6" name="Rectangle 151"/>
              <p:cNvSpPr>
                <a:spLocks noChangeArrowheads="1"/>
              </p:cNvSpPr>
              <p:nvPr/>
            </p:nvSpPr>
            <p:spPr bwMode="auto">
              <a:xfrm>
                <a:off x="3639" y="2357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7" name="Rectangle 152"/>
              <p:cNvSpPr>
                <a:spLocks noChangeArrowheads="1"/>
              </p:cNvSpPr>
              <p:nvPr/>
            </p:nvSpPr>
            <p:spPr bwMode="auto">
              <a:xfrm>
                <a:off x="3639" y="2369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8" name="Rectangle 153"/>
              <p:cNvSpPr>
                <a:spLocks noChangeArrowheads="1"/>
              </p:cNvSpPr>
              <p:nvPr/>
            </p:nvSpPr>
            <p:spPr bwMode="auto">
              <a:xfrm>
                <a:off x="3639" y="2381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9" name="Rectangle 154"/>
              <p:cNvSpPr>
                <a:spLocks noChangeArrowheads="1"/>
              </p:cNvSpPr>
              <p:nvPr/>
            </p:nvSpPr>
            <p:spPr bwMode="auto">
              <a:xfrm>
                <a:off x="3639" y="2394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0" name="Rectangle 155"/>
              <p:cNvSpPr>
                <a:spLocks noChangeArrowheads="1"/>
              </p:cNvSpPr>
              <p:nvPr/>
            </p:nvSpPr>
            <p:spPr bwMode="auto">
              <a:xfrm>
                <a:off x="3639" y="2406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1" name="Rectangle 156"/>
              <p:cNvSpPr>
                <a:spLocks noChangeArrowheads="1"/>
              </p:cNvSpPr>
              <p:nvPr/>
            </p:nvSpPr>
            <p:spPr bwMode="auto">
              <a:xfrm>
                <a:off x="3639" y="2351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2" name="Rectangle 157"/>
              <p:cNvSpPr>
                <a:spLocks noChangeArrowheads="1"/>
              </p:cNvSpPr>
              <p:nvPr/>
            </p:nvSpPr>
            <p:spPr bwMode="auto">
              <a:xfrm>
                <a:off x="3639" y="2363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3" name="Rectangle 158"/>
              <p:cNvSpPr>
                <a:spLocks noChangeArrowheads="1"/>
              </p:cNvSpPr>
              <p:nvPr/>
            </p:nvSpPr>
            <p:spPr bwMode="auto">
              <a:xfrm>
                <a:off x="3639" y="2375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4" name="Rectangle 159"/>
              <p:cNvSpPr>
                <a:spLocks noChangeArrowheads="1"/>
              </p:cNvSpPr>
              <p:nvPr/>
            </p:nvSpPr>
            <p:spPr bwMode="auto">
              <a:xfrm>
                <a:off x="3639" y="2388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5" name="Rectangle 160"/>
              <p:cNvSpPr>
                <a:spLocks noChangeArrowheads="1"/>
              </p:cNvSpPr>
              <p:nvPr/>
            </p:nvSpPr>
            <p:spPr bwMode="auto">
              <a:xfrm>
                <a:off x="3639" y="2400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6" name="Rectangle 161"/>
              <p:cNvSpPr>
                <a:spLocks noChangeArrowheads="1"/>
              </p:cNvSpPr>
              <p:nvPr/>
            </p:nvSpPr>
            <p:spPr bwMode="auto">
              <a:xfrm>
                <a:off x="3639" y="2412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7" name="Rectangle 162"/>
              <p:cNvSpPr>
                <a:spLocks noChangeArrowheads="1"/>
              </p:cNvSpPr>
              <p:nvPr/>
            </p:nvSpPr>
            <p:spPr bwMode="auto">
              <a:xfrm>
                <a:off x="3639" y="2418"/>
                <a:ext cx="356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8" name="Freeform 163"/>
              <p:cNvSpPr>
                <a:spLocks/>
              </p:cNvSpPr>
              <p:nvPr/>
            </p:nvSpPr>
            <p:spPr bwMode="auto">
              <a:xfrm>
                <a:off x="3995" y="2344"/>
                <a:ext cx="77" cy="7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9" y="100"/>
                  </a:cxn>
                  <a:cxn ang="0">
                    <a:pos x="239" y="100"/>
                  </a:cxn>
                  <a:cxn ang="0">
                    <a:pos x="338" y="339"/>
                  </a:cxn>
                  <a:cxn ang="0">
                    <a:pos x="247" y="339"/>
                  </a:cxn>
                  <a:cxn ang="0">
                    <a:pos x="175" y="164"/>
                  </a:cxn>
                  <a:cxn ang="0">
                    <a:pos x="175" y="164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0" y="0"/>
                  </a:cxn>
                </a:cxnLst>
                <a:rect l="0" t="0" r="r" b="b"/>
                <a:pathLst>
                  <a:path w="338" h="339">
                    <a:moveTo>
                      <a:pt x="0" y="0"/>
                    </a:moveTo>
                    <a:cubicBezTo>
                      <a:pt x="93" y="0"/>
                      <a:pt x="178" y="38"/>
                      <a:pt x="239" y="100"/>
                    </a:cubicBezTo>
                    <a:lnTo>
                      <a:pt x="239" y="100"/>
                    </a:lnTo>
                    <a:cubicBezTo>
                      <a:pt x="301" y="161"/>
                      <a:pt x="338" y="246"/>
                      <a:pt x="338" y="339"/>
                    </a:cubicBezTo>
                    <a:lnTo>
                      <a:pt x="247" y="339"/>
                    </a:lnTo>
                    <a:cubicBezTo>
                      <a:pt x="247" y="271"/>
                      <a:pt x="219" y="209"/>
                      <a:pt x="175" y="164"/>
                    </a:cubicBezTo>
                    <a:lnTo>
                      <a:pt x="175" y="164"/>
                    </a:lnTo>
                    <a:cubicBezTo>
                      <a:pt x="130" y="120"/>
                      <a:pt x="68" y="92"/>
                      <a:pt x="0" y="92"/>
                    </a:cubicBezTo>
                    <a:lnTo>
                      <a:pt x="0" y="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9" name="Freeform 164"/>
              <p:cNvSpPr>
                <a:spLocks/>
              </p:cNvSpPr>
              <p:nvPr/>
            </p:nvSpPr>
            <p:spPr bwMode="auto">
              <a:xfrm>
                <a:off x="3995" y="2351"/>
                <a:ext cx="71" cy="7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20" y="92"/>
                  </a:cxn>
                  <a:cxn ang="0">
                    <a:pos x="220" y="92"/>
                  </a:cxn>
                  <a:cxn ang="0">
                    <a:pos x="312" y="312"/>
                  </a:cxn>
                  <a:cxn ang="0">
                    <a:pos x="228" y="312"/>
                  </a:cxn>
                  <a:cxn ang="0">
                    <a:pos x="161" y="151"/>
                  </a:cxn>
                  <a:cxn ang="0">
                    <a:pos x="161" y="151"/>
                  </a:cxn>
                  <a:cxn ang="0">
                    <a:pos x="0" y="84"/>
                  </a:cxn>
                  <a:cxn ang="0">
                    <a:pos x="0" y="84"/>
                  </a:cxn>
                  <a:cxn ang="0">
                    <a:pos x="0" y="0"/>
                  </a:cxn>
                </a:cxnLst>
                <a:rect l="0" t="0" r="r" b="b"/>
                <a:pathLst>
                  <a:path w="312" h="312">
                    <a:moveTo>
                      <a:pt x="0" y="0"/>
                    </a:moveTo>
                    <a:cubicBezTo>
                      <a:pt x="86" y="0"/>
                      <a:pt x="164" y="35"/>
                      <a:pt x="220" y="92"/>
                    </a:cubicBezTo>
                    <a:lnTo>
                      <a:pt x="220" y="92"/>
                    </a:lnTo>
                    <a:cubicBezTo>
                      <a:pt x="277" y="148"/>
                      <a:pt x="312" y="226"/>
                      <a:pt x="312" y="312"/>
                    </a:cubicBezTo>
                    <a:lnTo>
                      <a:pt x="228" y="312"/>
                    </a:lnTo>
                    <a:cubicBezTo>
                      <a:pt x="228" y="249"/>
                      <a:pt x="202" y="192"/>
                      <a:pt x="161" y="151"/>
                    </a:cubicBezTo>
                    <a:lnTo>
                      <a:pt x="161" y="151"/>
                    </a:lnTo>
                    <a:cubicBezTo>
                      <a:pt x="120" y="110"/>
                      <a:pt x="63" y="84"/>
                      <a:pt x="0" y="84"/>
                    </a:cubicBezTo>
                    <a:lnTo>
                      <a:pt x="0" y="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0" name="Freeform 165"/>
              <p:cNvSpPr>
                <a:spLocks/>
              </p:cNvSpPr>
              <p:nvPr/>
            </p:nvSpPr>
            <p:spPr bwMode="auto">
              <a:xfrm>
                <a:off x="3995" y="2357"/>
                <a:ext cx="65" cy="6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01" y="84"/>
                  </a:cxn>
                  <a:cxn ang="0">
                    <a:pos x="201" y="84"/>
                  </a:cxn>
                  <a:cxn ang="0">
                    <a:pos x="285" y="285"/>
                  </a:cxn>
                  <a:cxn ang="0">
                    <a:pos x="208" y="285"/>
                  </a:cxn>
                  <a:cxn ang="0">
                    <a:pos x="147" y="138"/>
                  </a:cxn>
                  <a:cxn ang="0">
                    <a:pos x="147" y="138"/>
                  </a:cxn>
                  <a:cxn ang="0">
                    <a:pos x="0" y="77"/>
                  </a:cxn>
                  <a:cxn ang="0">
                    <a:pos x="0" y="77"/>
                  </a:cxn>
                  <a:cxn ang="0">
                    <a:pos x="0" y="0"/>
                  </a:cxn>
                </a:cxnLst>
                <a:rect l="0" t="0" r="r" b="b"/>
                <a:pathLst>
                  <a:path w="285" h="285">
                    <a:moveTo>
                      <a:pt x="0" y="0"/>
                    </a:moveTo>
                    <a:cubicBezTo>
                      <a:pt x="78" y="0"/>
                      <a:pt x="150" y="32"/>
                      <a:pt x="201" y="84"/>
                    </a:cubicBezTo>
                    <a:lnTo>
                      <a:pt x="201" y="84"/>
                    </a:lnTo>
                    <a:cubicBezTo>
                      <a:pt x="253" y="135"/>
                      <a:pt x="285" y="207"/>
                      <a:pt x="285" y="285"/>
                    </a:cubicBezTo>
                    <a:lnTo>
                      <a:pt x="208" y="285"/>
                    </a:lnTo>
                    <a:cubicBezTo>
                      <a:pt x="208" y="228"/>
                      <a:pt x="185" y="176"/>
                      <a:pt x="147" y="138"/>
                    </a:cubicBezTo>
                    <a:lnTo>
                      <a:pt x="147" y="138"/>
                    </a:lnTo>
                    <a:cubicBezTo>
                      <a:pt x="109" y="100"/>
                      <a:pt x="57" y="77"/>
                      <a:pt x="0" y="77"/>
                    </a:cubicBezTo>
                    <a:lnTo>
                      <a:pt x="0" y="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1" name="Freeform 166"/>
              <p:cNvSpPr>
                <a:spLocks/>
              </p:cNvSpPr>
              <p:nvPr/>
            </p:nvSpPr>
            <p:spPr bwMode="auto">
              <a:xfrm>
                <a:off x="3995" y="2363"/>
                <a:ext cx="59" cy="6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2" y="75"/>
                  </a:cxn>
                  <a:cxn ang="0">
                    <a:pos x="182" y="76"/>
                  </a:cxn>
                  <a:cxn ang="0">
                    <a:pos x="258" y="258"/>
                  </a:cxn>
                  <a:cxn ang="0">
                    <a:pos x="188" y="258"/>
                  </a:cxn>
                  <a:cxn ang="0">
                    <a:pos x="133" y="125"/>
                  </a:cxn>
                  <a:cxn ang="0">
                    <a:pos x="133" y="125"/>
                  </a:cxn>
                  <a:cxn ang="0">
                    <a:pos x="0" y="69"/>
                  </a:cxn>
                  <a:cxn ang="0">
                    <a:pos x="0" y="69"/>
                  </a:cxn>
                  <a:cxn ang="0">
                    <a:pos x="0" y="0"/>
                  </a:cxn>
                </a:cxnLst>
                <a:rect l="0" t="0" r="r" b="b"/>
                <a:pathLst>
                  <a:path w="258" h="258">
                    <a:moveTo>
                      <a:pt x="0" y="0"/>
                    </a:moveTo>
                    <a:cubicBezTo>
                      <a:pt x="71" y="0"/>
                      <a:pt x="136" y="29"/>
                      <a:pt x="182" y="75"/>
                    </a:cubicBezTo>
                    <a:lnTo>
                      <a:pt x="182" y="76"/>
                    </a:lnTo>
                    <a:cubicBezTo>
                      <a:pt x="229" y="122"/>
                      <a:pt x="258" y="187"/>
                      <a:pt x="258" y="258"/>
                    </a:cubicBezTo>
                    <a:lnTo>
                      <a:pt x="188" y="258"/>
                    </a:lnTo>
                    <a:cubicBezTo>
                      <a:pt x="188" y="206"/>
                      <a:pt x="167" y="159"/>
                      <a:pt x="133" y="125"/>
                    </a:cubicBezTo>
                    <a:lnTo>
                      <a:pt x="133" y="125"/>
                    </a:lnTo>
                    <a:cubicBezTo>
                      <a:pt x="99" y="91"/>
                      <a:pt x="52" y="69"/>
                      <a:pt x="0" y="69"/>
                    </a:cubicBezTo>
                    <a:lnTo>
                      <a:pt x="0" y="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2" name="Freeform 167"/>
              <p:cNvSpPr>
                <a:spLocks/>
              </p:cNvSpPr>
              <p:nvPr/>
            </p:nvSpPr>
            <p:spPr bwMode="auto">
              <a:xfrm>
                <a:off x="3995" y="2369"/>
                <a:ext cx="53" cy="5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4" y="68"/>
                  </a:cxn>
                  <a:cxn ang="0">
                    <a:pos x="164" y="68"/>
                  </a:cxn>
                  <a:cxn ang="0">
                    <a:pos x="231" y="232"/>
                  </a:cxn>
                  <a:cxn ang="0">
                    <a:pos x="169" y="232"/>
                  </a:cxn>
                  <a:cxn ang="0">
                    <a:pos x="119" y="112"/>
                  </a:cxn>
                  <a:cxn ang="0">
                    <a:pos x="119" y="113"/>
                  </a:cxn>
                  <a:cxn ang="0">
                    <a:pos x="0" y="63"/>
                  </a:cxn>
                  <a:cxn ang="0">
                    <a:pos x="0" y="63"/>
                  </a:cxn>
                  <a:cxn ang="0">
                    <a:pos x="0" y="0"/>
                  </a:cxn>
                </a:cxnLst>
                <a:rect l="0" t="0" r="r" b="b"/>
                <a:pathLst>
                  <a:path w="231" h="232">
                    <a:moveTo>
                      <a:pt x="0" y="0"/>
                    </a:moveTo>
                    <a:cubicBezTo>
                      <a:pt x="64" y="0"/>
                      <a:pt x="122" y="26"/>
                      <a:pt x="164" y="68"/>
                    </a:cubicBezTo>
                    <a:lnTo>
                      <a:pt x="164" y="68"/>
                    </a:lnTo>
                    <a:cubicBezTo>
                      <a:pt x="205" y="110"/>
                      <a:pt x="231" y="168"/>
                      <a:pt x="231" y="232"/>
                    </a:cubicBezTo>
                    <a:lnTo>
                      <a:pt x="169" y="232"/>
                    </a:lnTo>
                    <a:cubicBezTo>
                      <a:pt x="169" y="185"/>
                      <a:pt x="150" y="143"/>
                      <a:pt x="119" y="112"/>
                    </a:cubicBezTo>
                    <a:lnTo>
                      <a:pt x="119" y="113"/>
                    </a:lnTo>
                    <a:cubicBezTo>
                      <a:pt x="89" y="82"/>
                      <a:pt x="46" y="63"/>
                      <a:pt x="0" y="63"/>
                    </a:cubicBezTo>
                    <a:lnTo>
                      <a:pt x="0" y="6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3" name="Freeform 168"/>
              <p:cNvSpPr>
                <a:spLocks/>
              </p:cNvSpPr>
              <p:nvPr/>
            </p:nvSpPr>
            <p:spPr bwMode="auto">
              <a:xfrm>
                <a:off x="3995" y="2375"/>
                <a:ext cx="47" cy="4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5" y="60"/>
                  </a:cxn>
                  <a:cxn ang="0">
                    <a:pos x="145" y="60"/>
                  </a:cxn>
                  <a:cxn ang="0">
                    <a:pos x="205" y="205"/>
                  </a:cxn>
                  <a:cxn ang="0">
                    <a:pos x="149" y="205"/>
                  </a:cxn>
                  <a:cxn ang="0">
                    <a:pos x="106" y="99"/>
                  </a:cxn>
                  <a:cxn ang="0">
                    <a:pos x="105" y="99"/>
                  </a:cxn>
                  <a:cxn ang="0">
                    <a:pos x="0" y="56"/>
                  </a:cxn>
                  <a:cxn ang="0">
                    <a:pos x="0" y="56"/>
                  </a:cxn>
                  <a:cxn ang="0">
                    <a:pos x="0" y="0"/>
                  </a:cxn>
                </a:cxnLst>
                <a:rect l="0" t="0" r="r" b="b"/>
                <a:pathLst>
                  <a:path w="205" h="205">
                    <a:moveTo>
                      <a:pt x="0" y="0"/>
                    </a:moveTo>
                    <a:cubicBezTo>
                      <a:pt x="56" y="0"/>
                      <a:pt x="107" y="23"/>
                      <a:pt x="145" y="60"/>
                    </a:cubicBezTo>
                    <a:lnTo>
                      <a:pt x="145" y="60"/>
                    </a:lnTo>
                    <a:cubicBezTo>
                      <a:pt x="182" y="97"/>
                      <a:pt x="205" y="149"/>
                      <a:pt x="205" y="205"/>
                    </a:cubicBezTo>
                    <a:lnTo>
                      <a:pt x="149" y="205"/>
                    </a:lnTo>
                    <a:cubicBezTo>
                      <a:pt x="149" y="164"/>
                      <a:pt x="133" y="126"/>
                      <a:pt x="106" y="99"/>
                    </a:cubicBezTo>
                    <a:lnTo>
                      <a:pt x="105" y="99"/>
                    </a:lnTo>
                    <a:cubicBezTo>
                      <a:pt x="78" y="72"/>
                      <a:pt x="41" y="56"/>
                      <a:pt x="0" y="56"/>
                    </a:cubicBezTo>
                    <a:lnTo>
                      <a:pt x="0" y="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4" name="Freeform 169"/>
              <p:cNvSpPr>
                <a:spLocks/>
              </p:cNvSpPr>
              <p:nvPr/>
            </p:nvSpPr>
            <p:spPr bwMode="auto">
              <a:xfrm>
                <a:off x="3995" y="2381"/>
                <a:ext cx="41" cy="4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6" y="52"/>
                  </a:cxn>
                  <a:cxn ang="0">
                    <a:pos x="126" y="52"/>
                  </a:cxn>
                  <a:cxn ang="0">
                    <a:pos x="178" y="178"/>
                  </a:cxn>
                  <a:cxn ang="0">
                    <a:pos x="130" y="178"/>
                  </a:cxn>
                  <a:cxn ang="0">
                    <a:pos x="92" y="86"/>
                  </a:cxn>
                  <a:cxn ang="0">
                    <a:pos x="92" y="8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0"/>
                  </a:cxn>
                </a:cxnLst>
                <a:rect l="0" t="0" r="r" b="b"/>
                <a:pathLst>
                  <a:path w="178" h="178">
                    <a:moveTo>
                      <a:pt x="0" y="0"/>
                    </a:moveTo>
                    <a:cubicBezTo>
                      <a:pt x="49" y="0"/>
                      <a:pt x="93" y="20"/>
                      <a:pt x="126" y="52"/>
                    </a:cubicBezTo>
                    <a:lnTo>
                      <a:pt x="126" y="52"/>
                    </a:lnTo>
                    <a:cubicBezTo>
                      <a:pt x="158" y="85"/>
                      <a:pt x="178" y="129"/>
                      <a:pt x="178" y="178"/>
                    </a:cubicBezTo>
                    <a:lnTo>
                      <a:pt x="130" y="178"/>
                    </a:lnTo>
                    <a:cubicBezTo>
                      <a:pt x="130" y="142"/>
                      <a:pt x="115" y="110"/>
                      <a:pt x="92" y="86"/>
                    </a:cubicBezTo>
                    <a:lnTo>
                      <a:pt x="92" y="86"/>
                    </a:lnTo>
                    <a:cubicBezTo>
                      <a:pt x="68" y="63"/>
                      <a:pt x="36" y="48"/>
                      <a:pt x="0" y="48"/>
                    </a:cubicBezTo>
                    <a:lnTo>
                      <a:pt x="0" y="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5" name="Freeform 170"/>
              <p:cNvSpPr>
                <a:spLocks/>
              </p:cNvSpPr>
              <p:nvPr/>
            </p:nvSpPr>
            <p:spPr bwMode="auto">
              <a:xfrm>
                <a:off x="3995" y="2388"/>
                <a:ext cx="34" cy="3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7" y="44"/>
                  </a:cxn>
                  <a:cxn ang="0">
                    <a:pos x="107" y="44"/>
                  </a:cxn>
                  <a:cxn ang="0">
                    <a:pos x="151" y="151"/>
                  </a:cxn>
                  <a:cxn ang="0">
                    <a:pos x="110" y="151"/>
                  </a:cxn>
                  <a:cxn ang="0">
                    <a:pos x="78" y="73"/>
                  </a:cxn>
                  <a:cxn ang="0">
                    <a:pos x="78" y="73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0" y="0"/>
                  </a:cxn>
                </a:cxnLst>
                <a:rect l="0" t="0" r="r" b="b"/>
                <a:pathLst>
                  <a:path w="151" h="151">
                    <a:moveTo>
                      <a:pt x="0" y="0"/>
                    </a:moveTo>
                    <a:cubicBezTo>
                      <a:pt x="41" y="0"/>
                      <a:pt x="79" y="17"/>
                      <a:pt x="107" y="44"/>
                    </a:cubicBezTo>
                    <a:lnTo>
                      <a:pt x="107" y="44"/>
                    </a:lnTo>
                    <a:cubicBezTo>
                      <a:pt x="134" y="72"/>
                      <a:pt x="151" y="109"/>
                      <a:pt x="151" y="151"/>
                    </a:cubicBezTo>
                    <a:lnTo>
                      <a:pt x="110" y="151"/>
                    </a:lnTo>
                    <a:cubicBezTo>
                      <a:pt x="110" y="121"/>
                      <a:pt x="98" y="93"/>
                      <a:pt x="78" y="73"/>
                    </a:cubicBezTo>
                    <a:lnTo>
                      <a:pt x="78" y="73"/>
                    </a:lnTo>
                    <a:cubicBezTo>
                      <a:pt x="58" y="53"/>
                      <a:pt x="30" y="41"/>
                      <a:pt x="0" y="41"/>
                    </a:cubicBezTo>
                    <a:lnTo>
                      <a:pt x="0" y="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6" name="Freeform 171"/>
              <p:cNvSpPr>
                <a:spLocks/>
              </p:cNvSpPr>
              <p:nvPr/>
            </p:nvSpPr>
            <p:spPr bwMode="auto">
              <a:xfrm>
                <a:off x="3995" y="2394"/>
                <a:ext cx="28" cy="2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8" y="36"/>
                  </a:cxn>
                  <a:cxn ang="0">
                    <a:pos x="88" y="36"/>
                  </a:cxn>
                  <a:cxn ang="0">
                    <a:pos x="124" y="124"/>
                  </a:cxn>
                  <a:cxn ang="0">
                    <a:pos x="91" y="124"/>
                  </a:cxn>
                  <a:cxn ang="0">
                    <a:pos x="64" y="60"/>
                  </a:cxn>
                  <a:cxn ang="0">
                    <a:pos x="64" y="60"/>
                  </a:cxn>
                  <a:cxn ang="0">
                    <a:pos x="0" y="33"/>
                  </a:cxn>
                  <a:cxn ang="0">
                    <a:pos x="0" y="33"/>
                  </a:cxn>
                  <a:cxn ang="0">
                    <a:pos x="0" y="0"/>
                  </a:cxn>
                </a:cxnLst>
                <a:rect l="0" t="0" r="r" b="b"/>
                <a:pathLst>
                  <a:path w="124" h="124">
                    <a:moveTo>
                      <a:pt x="0" y="0"/>
                    </a:moveTo>
                    <a:cubicBezTo>
                      <a:pt x="34" y="0"/>
                      <a:pt x="65" y="13"/>
                      <a:pt x="88" y="36"/>
                    </a:cubicBezTo>
                    <a:lnTo>
                      <a:pt x="88" y="36"/>
                    </a:lnTo>
                    <a:cubicBezTo>
                      <a:pt x="110" y="59"/>
                      <a:pt x="124" y="90"/>
                      <a:pt x="124" y="124"/>
                    </a:cubicBezTo>
                    <a:lnTo>
                      <a:pt x="91" y="124"/>
                    </a:lnTo>
                    <a:cubicBezTo>
                      <a:pt x="91" y="99"/>
                      <a:pt x="80" y="76"/>
                      <a:pt x="64" y="60"/>
                    </a:cubicBezTo>
                    <a:lnTo>
                      <a:pt x="64" y="60"/>
                    </a:lnTo>
                    <a:cubicBezTo>
                      <a:pt x="47" y="43"/>
                      <a:pt x="25" y="33"/>
                      <a:pt x="0" y="33"/>
                    </a:cubicBezTo>
                    <a:lnTo>
                      <a:pt x="0" y="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7" name="Freeform 172"/>
              <p:cNvSpPr>
                <a:spLocks/>
              </p:cNvSpPr>
              <p:nvPr/>
            </p:nvSpPr>
            <p:spPr bwMode="auto">
              <a:xfrm>
                <a:off x="3995" y="2400"/>
                <a:ext cx="22" cy="2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9" y="29"/>
                  </a:cxn>
                  <a:cxn ang="0">
                    <a:pos x="69" y="29"/>
                  </a:cxn>
                  <a:cxn ang="0">
                    <a:pos x="98" y="98"/>
                  </a:cxn>
                  <a:cxn ang="0">
                    <a:pos x="85" y="98"/>
                  </a:cxn>
                  <a:cxn ang="0">
                    <a:pos x="71" y="98"/>
                  </a:cxn>
                  <a:cxn ang="0">
                    <a:pos x="0" y="98"/>
                  </a:cxn>
                  <a:cxn ang="0">
                    <a:pos x="0" y="70"/>
                  </a:cxn>
                  <a:cxn ang="0">
                    <a:pos x="0" y="63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98" h="98">
                    <a:moveTo>
                      <a:pt x="0" y="0"/>
                    </a:moveTo>
                    <a:cubicBezTo>
                      <a:pt x="27" y="0"/>
                      <a:pt x="51" y="11"/>
                      <a:pt x="69" y="29"/>
                    </a:cubicBezTo>
                    <a:lnTo>
                      <a:pt x="69" y="29"/>
                    </a:lnTo>
                    <a:cubicBezTo>
                      <a:pt x="87" y="47"/>
                      <a:pt x="98" y="71"/>
                      <a:pt x="98" y="98"/>
                    </a:cubicBezTo>
                    <a:lnTo>
                      <a:pt x="85" y="98"/>
                    </a:lnTo>
                    <a:lnTo>
                      <a:pt x="71" y="98"/>
                    </a:lnTo>
                    <a:lnTo>
                      <a:pt x="0" y="98"/>
                    </a:lnTo>
                    <a:lnTo>
                      <a:pt x="0" y="70"/>
                    </a:lnTo>
                    <a:lnTo>
                      <a:pt x="0" y="63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8" name="Freeform 173"/>
              <p:cNvSpPr>
                <a:spLocks/>
              </p:cNvSpPr>
              <p:nvPr/>
            </p:nvSpPr>
            <p:spPr bwMode="auto">
              <a:xfrm>
                <a:off x="3995" y="2406"/>
                <a:ext cx="16" cy="1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0" y="21"/>
                  </a:cxn>
                  <a:cxn ang="0">
                    <a:pos x="50" y="21"/>
                  </a:cxn>
                  <a:cxn ang="0">
                    <a:pos x="71" y="71"/>
                  </a:cxn>
                  <a:cxn ang="0">
                    <a:pos x="61" y="71"/>
                  </a:cxn>
                  <a:cxn ang="0">
                    <a:pos x="52" y="71"/>
                  </a:cxn>
                  <a:cxn ang="0">
                    <a:pos x="0" y="71"/>
                  </a:cxn>
                  <a:cxn ang="0">
                    <a:pos x="0" y="51"/>
                  </a:cxn>
                  <a:cxn ang="0">
                    <a:pos x="0" y="45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6"/>
                  </a:cxn>
                  <a:cxn ang="0">
                    <a:pos x="0" y="0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19" y="0"/>
                      <a:pt x="37" y="8"/>
                      <a:pt x="50" y="21"/>
                    </a:cubicBezTo>
                    <a:lnTo>
                      <a:pt x="50" y="21"/>
                    </a:lnTo>
                    <a:cubicBezTo>
                      <a:pt x="63" y="34"/>
                      <a:pt x="71" y="51"/>
                      <a:pt x="71" y="71"/>
                    </a:cubicBezTo>
                    <a:lnTo>
                      <a:pt x="61" y="71"/>
                    </a:lnTo>
                    <a:lnTo>
                      <a:pt x="52" y="71"/>
                    </a:lnTo>
                    <a:lnTo>
                      <a:pt x="0" y="71"/>
                    </a:lnTo>
                    <a:lnTo>
                      <a:pt x="0" y="51"/>
                    </a:lnTo>
                    <a:lnTo>
                      <a:pt x="0" y="45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9" name="Freeform 174"/>
              <p:cNvSpPr>
                <a:spLocks/>
              </p:cNvSpPr>
              <p:nvPr/>
            </p:nvSpPr>
            <p:spPr bwMode="auto">
              <a:xfrm>
                <a:off x="3995" y="2412"/>
                <a:ext cx="10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44" y="45"/>
                  </a:cxn>
                  <a:cxn ang="0">
                    <a:pos x="0" y="45"/>
                  </a:cxn>
                  <a:cxn ang="0">
                    <a:pos x="0" y="32"/>
                  </a:cxn>
                  <a:cxn ang="0">
                    <a:pos x="0" y="2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0" y="0"/>
                  </a:cxn>
                </a:cxnLst>
                <a:rect l="0" t="0" r="r" b="b"/>
                <a:pathLst>
                  <a:path w="44" h="45">
                    <a:moveTo>
                      <a:pt x="0" y="0"/>
                    </a:moveTo>
                    <a:cubicBezTo>
                      <a:pt x="12" y="0"/>
                      <a:pt x="23" y="5"/>
                      <a:pt x="31" y="14"/>
                    </a:cubicBezTo>
                    <a:lnTo>
                      <a:pt x="31" y="14"/>
                    </a:lnTo>
                    <a:cubicBezTo>
                      <a:pt x="39" y="22"/>
                      <a:pt x="44" y="33"/>
                      <a:pt x="44" y="45"/>
                    </a:cubicBezTo>
                    <a:lnTo>
                      <a:pt x="0" y="45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0" name="Freeform 175"/>
              <p:cNvSpPr>
                <a:spLocks/>
              </p:cNvSpPr>
              <p:nvPr/>
            </p:nvSpPr>
            <p:spPr bwMode="auto">
              <a:xfrm>
                <a:off x="3995" y="2418"/>
                <a:ext cx="4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8" y="18"/>
                  </a:cxn>
                  <a:cxn ang="0">
                    <a:pos x="0" y="18"/>
                  </a:cxn>
                  <a:cxn ang="0">
                    <a:pos x="0" y="13"/>
                  </a:cxn>
                  <a:cxn ang="0">
                    <a:pos x="0" y="12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18" h="18">
                    <a:moveTo>
                      <a:pt x="0" y="0"/>
                    </a:moveTo>
                    <a:cubicBezTo>
                      <a:pt x="5" y="0"/>
                      <a:pt x="9" y="2"/>
                      <a:pt x="12" y="5"/>
                    </a:cubicBezTo>
                    <a:lnTo>
                      <a:pt x="12" y="5"/>
                    </a:lnTo>
                    <a:cubicBezTo>
                      <a:pt x="16" y="9"/>
                      <a:pt x="18" y="13"/>
                      <a:pt x="18" y="18"/>
                    </a:cubicBezTo>
                    <a:lnTo>
                      <a:pt x="0" y="18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9A7B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1" name="Rectangle 176"/>
              <p:cNvSpPr>
                <a:spLocks noChangeArrowheads="1"/>
              </p:cNvSpPr>
              <p:nvPr/>
            </p:nvSpPr>
            <p:spPr bwMode="auto">
              <a:xfrm>
                <a:off x="4150" y="2344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2" name="Rectangle 177"/>
              <p:cNvSpPr>
                <a:spLocks noChangeArrowheads="1"/>
              </p:cNvSpPr>
              <p:nvPr/>
            </p:nvSpPr>
            <p:spPr bwMode="auto">
              <a:xfrm>
                <a:off x="4150" y="2357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3" name="Rectangle 178"/>
              <p:cNvSpPr>
                <a:spLocks noChangeArrowheads="1"/>
              </p:cNvSpPr>
              <p:nvPr/>
            </p:nvSpPr>
            <p:spPr bwMode="auto">
              <a:xfrm>
                <a:off x="4150" y="2369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4" name="Rectangle 179"/>
              <p:cNvSpPr>
                <a:spLocks noChangeArrowheads="1"/>
              </p:cNvSpPr>
              <p:nvPr/>
            </p:nvSpPr>
            <p:spPr bwMode="auto">
              <a:xfrm>
                <a:off x="4150" y="2381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5" name="Rectangle 180"/>
              <p:cNvSpPr>
                <a:spLocks noChangeArrowheads="1"/>
              </p:cNvSpPr>
              <p:nvPr/>
            </p:nvSpPr>
            <p:spPr bwMode="auto">
              <a:xfrm>
                <a:off x="4150" y="2394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6" name="Rectangle 181"/>
              <p:cNvSpPr>
                <a:spLocks noChangeArrowheads="1"/>
              </p:cNvSpPr>
              <p:nvPr/>
            </p:nvSpPr>
            <p:spPr bwMode="auto">
              <a:xfrm>
                <a:off x="4150" y="2406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7" name="Rectangle 182"/>
              <p:cNvSpPr>
                <a:spLocks noChangeArrowheads="1"/>
              </p:cNvSpPr>
              <p:nvPr/>
            </p:nvSpPr>
            <p:spPr bwMode="auto">
              <a:xfrm>
                <a:off x="4150" y="2351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8" name="Rectangle 183"/>
              <p:cNvSpPr>
                <a:spLocks noChangeArrowheads="1"/>
              </p:cNvSpPr>
              <p:nvPr/>
            </p:nvSpPr>
            <p:spPr bwMode="auto">
              <a:xfrm>
                <a:off x="4150" y="2363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9" name="Rectangle 184"/>
              <p:cNvSpPr>
                <a:spLocks noChangeArrowheads="1"/>
              </p:cNvSpPr>
              <p:nvPr/>
            </p:nvSpPr>
            <p:spPr bwMode="auto">
              <a:xfrm>
                <a:off x="4150" y="2375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0" name="Rectangle 185"/>
              <p:cNvSpPr>
                <a:spLocks noChangeArrowheads="1"/>
              </p:cNvSpPr>
              <p:nvPr/>
            </p:nvSpPr>
            <p:spPr bwMode="auto">
              <a:xfrm>
                <a:off x="4150" y="2388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1" name="Rectangle 186"/>
              <p:cNvSpPr>
                <a:spLocks noChangeArrowheads="1"/>
              </p:cNvSpPr>
              <p:nvPr/>
            </p:nvSpPr>
            <p:spPr bwMode="auto">
              <a:xfrm>
                <a:off x="4150" y="2400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2" name="Rectangle 187"/>
              <p:cNvSpPr>
                <a:spLocks noChangeArrowheads="1"/>
              </p:cNvSpPr>
              <p:nvPr/>
            </p:nvSpPr>
            <p:spPr bwMode="auto">
              <a:xfrm>
                <a:off x="4150" y="2412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3" name="Rectangle 188"/>
              <p:cNvSpPr>
                <a:spLocks noChangeArrowheads="1"/>
              </p:cNvSpPr>
              <p:nvPr/>
            </p:nvSpPr>
            <p:spPr bwMode="auto">
              <a:xfrm>
                <a:off x="4150" y="2418"/>
                <a:ext cx="356" cy="5"/>
              </a:xfrm>
              <a:prstGeom prst="rect">
                <a:avLst/>
              </a:prstGeom>
              <a:solidFill>
                <a:srgbClr val="6F9AA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4" name="Freeform 189"/>
              <p:cNvSpPr>
                <a:spLocks/>
              </p:cNvSpPr>
              <p:nvPr/>
            </p:nvSpPr>
            <p:spPr bwMode="auto">
              <a:xfrm>
                <a:off x="4072" y="2344"/>
                <a:ext cx="78" cy="79"/>
              </a:xfrm>
              <a:custGeom>
                <a:avLst/>
                <a:gdLst/>
                <a:ahLst/>
                <a:cxnLst>
                  <a:cxn ang="0">
                    <a:pos x="339" y="0"/>
                  </a:cxn>
                  <a:cxn ang="0">
                    <a:pos x="100" y="100"/>
                  </a:cxn>
                  <a:cxn ang="0">
                    <a:pos x="100" y="100"/>
                  </a:cxn>
                  <a:cxn ang="0">
                    <a:pos x="0" y="339"/>
                  </a:cxn>
                  <a:cxn ang="0">
                    <a:pos x="92" y="339"/>
                  </a:cxn>
                  <a:cxn ang="0">
                    <a:pos x="164" y="164"/>
                  </a:cxn>
                  <a:cxn ang="0">
                    <a:pos x="164" y="164"/>
                  </a:cxn>
                  <a:cxn ang="0">
                    <a:pos x="339" y="92"/>
                  </a:cxn>
                  <a:cxn ang="0">
                    <a:pos x="339" y="92"/>
                  </a:cxn>
                  <a:cxn ang="0">
                    <a:pos x="339" y="0"/>
                  </a:cxn>
                </a:cxnLst>
                <a:rect l="0" t="0" r="r" b="b"/>
                <a:pathLst>
                  <a:path w="339" h="339">
                    <a:moveTo>
                      <a:pt x="339" y="0"/>
                    </a:moveTo>
                    <a:cubicBezTo>
                      <a:pt x="246" y="0"/>
                      <a:pt x="161" y="38"/>
                      <a:pt x="100" y="100"/>
                    </a:cubicBezTo>
                    <a:lnTo>
                      <a:pt x="100" y="100"/>
                    </a:lnTo>
                    <a:cubicBezTo>
                      <a:pt x="38" y="161"/>
                      <a:pt x="0" y="246"/>
                      <a:pt x="0" y="339"/>
                    </a:cubicBezTo>
                    <a:lnTo>
                      <a:pt x="92" y="339"/>
                    </a:lnTo>
                    <a:cubicBezTo>
                      <a:pt x="92" y="271"/>
                      <a:pt x="120" y="209"/>
                      <a:pt x="164" y="164"/>
                    </a:cubicBezTo>
                    <a:lnTo>
                      <a:pt x="164" y="164"/>
                    </a:lnTo>
                    <a:cubicBezTo>
                      <a:pt x="209" y="120"/>
                      <a:pt x="271" y="92"/>
                      <a:pt x="339" y="92"/>
                    </a:cubicBezTo>
                    <a:lnTo>
                      <a:pt x="339" y="92"/>
                    </a:lnTo>
                    <a:lnTo>
                      <a:pt x="339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5" name="Freeform 190"/>
              <p:cNvSpPr>
                <a:spLocks/>
              </p:cNvSpPr>
              <p:nvPr/>
            </p:nvSpPr>
            <p:spPr bwMode="auto">
              <a:xfrm>
                <a:off x="4079" y="2351"/>
                <a:ext cx="71" cy="72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92" y="92"/>
                  </a:cxn>
                  <a:cxn ang="0">
                    <a:pos x="92" y="92"/>
                  </a:cxn>
                  <a:cxn ang="0">
                    <a:pos x="0" y="312"/>
                  </a:cxn>
                  <a:cxn ang="0">
                    <a:pos x="84" y="312"/>
                  </a:cxn>
                  <a:cxn ang="0">
                    <a:pos x="151" y="151"/>
                  </a:cxn>
                  <a:cxn ang="0">
                    <a:pos x="151" y="151"/>
                  </a:cxn>
                  <a:cxn ang="0">
                    <a:pos x="312" y="84"/>
                  </a:cxn>
                  <a:cxn ang="0">
                    <a:pos x="312" y="84"/>
                  </a:cxn>
                  <a:cxn ang="0">
                    <a:pos x="312" y="0"/>
                  </a:cxn>
                </a:cxnLst>
                <a:rect l="0" t="0" r="r" b="b"/>
                <a:pathLst>
                  <a:path w="312" h="312">
                    <a:moveTo>
                      <a:pt x="312" y="0"/>
                    </a:moveTo>
                    <a:cubicBezTo>
                      <a:pt x="226" y="0"/>
                      <a:pt x="148" y="35"/>
                      <a:pt x="92" y="92"/>
                    </a:cubicBezTo>
                    <a:lnTo>
                      <a:pt x="92" y="92"/>
                    </a:lnTo>
                    <a:cubicBezTo>
                      <a:pt x="35" y="148"/>
                      <a:pt x="0" y="226"/>
                      <a:pt x="0" y="312"/>
                    </a:cubicBezTo>
                    <a:lnTo>
                      <a:pt x="84" y="312"/>
                    </a:lnTo>
                    <a:cubicBezTo>
                      <a:pt x="84" y="249"/>
                      <a:pt x="110" y="192"/>
                      <a:pt x="151" y="151"/>
                    </a:cubicBezTo>
                    <a:lnTo>
                      <a:pt x="151" y="151"/>
                    </a:lnTo>
                    <a:cubicBezTo>
                      <a:pt x="192" y="110"/>
                      <a:pt x="249" y="84"/>
                      <a:pt x="312" y="84"/>
                    </a:cubicBezTo>
                    <a:lnTo>
                      <a:pt x="312" y="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6" name="Freeform 191"/>
              <p:cNvSpPr>
                <a:spLocks/>
              </p:cNvSpPr>
              <p:nvPr/>
            </p:nvSpPr>
            <p:spPr bwMode="auto">
              <a:xfrm>
                <a:off x="4085" y="2357"/>
                <a:ext cx="65" cy="66"/>
              </a:xfrm>
              <a:custGeom>
                <a:avLst/>
                <a:gdLst/>
                <a:ahLst/>
                <a:cxnLst>
                  <a:cxn ang="0">
                    <a:pos x="285" y="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0" y="285"/>
                  </a:cxn>
                  <a:cxn ang="0">
                    <a:pos x="77" y="285"/>
                  </a:cxn>
                  <a:cxn ang="0">
                    <a:pos x="138" y="138"/>
                  </a:cxn>
                  <a:cxn ang="0">
                    <a:pos x="138" y="138"/>
                  </a:cxn>
                  <a:cxn ang="0">
                    <a:pos x="285" y="77"/>
                  </a:cxn>
                  <a:cxn ang="0">
                    <a:pos x="285" y="77"/>
                  </a:cxn>
                  <a:cxn ang="0">
                    <a:pos x="285" y="0"/>
                  </a:cxn>
                </a:cxnLst>
                <a:rect l="0" t="0" r="r" b="b"/>
                <a:pathLst>
                  <a:path w="285" h="285">
                    <a:moveTo>
                      <a:pt x="285" y="0"/>
                    </a:moveTo>
                    <a:cubicBezTo>
                      <a:pt x="207" y="0"/>
                      <a:pt x="135" y="32"/>
                      <a:pt x="84" y="84"/>
                    </a:cubicBezTo>
                    <a:lnTo>
                      <a:pt x="84" y="84"/>
                    </a:lnTo>
                    <a:cubicBezTo>
                      <a:pt x="32" y="135"/>
                      <a:pt x="0" y="207"/>
                      <a:pt x="0" y="285"/>
                    </a:cubicBezTo>
                    <a:lnTo>
                      <a:pt x="77" y="285"/>
                    </a:lnTo>
                    <a:cubicBezTo>
                      <a:pt x="77" y="228"/>
                      <a:pt x="100" y="176"/>
                      <a:pt x="138" y="138"/>
                    </a:cubicBezTo>
                    <a:lnTo>
                      <a:pt x="138" y="138"/>
                    </a:lnTo>
                    <a:cubicBezTo>
                      <a:pt x="176" y="100"/>
                      <a:pt x="228" y="77"/>
                      <a:pt x="285" y="77"/>
                    </a:cubicBezTo>
                    <a:lnTo>
                      <a:pt x="285" y="77"/>
                    </a:ln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7" name="Freeform 192"/>
              <p:cNvSpPr>
                <a:spLocks/>
              </p:cNvSpPr>
              <p:nvPr/>
            </p:nvSpPr>
            <p:spPr bwMode="auto">
              <a:xfrm>
                <a:off x="4091" y="2363"/>
                <a:ext cx="59" cy="60"/>
              </a:xfrm>
              <a:custGeom>
                <a:avLst/>
                <a:gdLst/>
                <a:ahLst/>
                <a:cxnLst>
                  <a:cxn ang="0">
                    <a:pos x="258" y="0"/>
                  </a:cxn>
                  <a:cxn ang="0">
                    <a:pos x="76" y="75"/>
                  </a:cxn>
                  <a:cxn ang="0">
                    <a:pos x="76" y="76"/>
                  </a:cxn>
                  <a:cxn ang="0">
                    <a:pos x="0" y="258"/>
                  </a:cxn>
                  <a:cxn ang="0">
                    <a:pos x="70" y="258"/>
                  </a:cxn>
                  <a:cxn ang="0">
                    <a:pos x="125" y="125"/>
                  </a:cxn>
                  <a:cxn ang="0">
                    <a:pos x="125" y="125"/>
                  </a:cxn>
                  <a:cxn ang="0">
                    <a:pos x="258" y="69"/>
                  </a:cxn>
                  <a:cxn ang="0">
                    <a:pos x="258" y="69"/>
                  </a:cxn>
                  <a:cxn ang="0">
                    <a:pos x="258" y="0"/>
                  </a:cxn>
                </a:cxnLst>
                <a:rect l="0" t="0" r="r" b="b"/>
                <a:pathLst>
                  <a:path w="258" h="258">
                    <a:moveTo>
                      <a:pt x="258" y="0"/>
                    </a:moveTo>
                    <a:cubicBezTo>
                      <a:pt x="187" y="0"/>
                      <a:pt x="122" y="29"/>
                      <a:pt x="76" y="75"/>
                    </a:cubicBezTo>
                    <a:lnTo>
                      <a:pt x="76" y="76"/>
                    </a:lnTo>
                    <a:cubicBezTo>
                      <a:pt x="29" y="122"/>
                      <a:pt x="0" y="187"/>
                      <a:pt x="0" y="258"/>
                    </a:cubicBezTo>
                    <a:lnTo>
                      <a:pt x="70" y="258"/>
                    </a:lnTo>
                    <a:cubicBezTo>
                      <a:pt x="70" y="206"/>
                      <a:pt x="91" y="159"/>
                      <a:pt x="125" y="125"/>
                    </a:cubicBezTo>
                    <a:lnTo>
                      <a:pt x="125" y="125"/>
                    </a:lnTo>
                    <a:cubicBezTo>
                      <a:pt x="159" y="91"/>
                      <a:pt x="206" y="69"/>
                      <a:pt x="258" y="69"/>
                    </a:cubicBezTo>
                    <a:lnTo>
                      <a:pt x="258" y="69"/>
                    </a:lnTo>
                    <a:lnTo>
                      <a:pt x="25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8" name="Freeform 193"/>
              <p:cNvSpPr>
                <a:spLocks/>
              </p:cNvSpPr>
              <p:nvPr/>
            </p:nvSpPr>
            <p:spPr bwMode="auto">
              <a:xfrm>
                <a:off x="4097" y="2369"/>
                <a:ext cx="53" cy="54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67" y="68"/>
                  </a:cxn>
                  <a:cxn ang="0">
                    <a:pos x="67" y="68"/>
                  </a:cxn>
                  <a:cxn ang="0">
                    <a:pos x="0" y="232"/>
                  </a:cxn>
                  <a:cxn ang="0">
                    <a:pos x="62" y="232"/>
                  </a:cxn>
                  <a:cxn ang="0">
                    <a:pos x="112" y="112"/>
                  </a:cxn>
                  <a:cxn ang="0">
                    <a:pos x="112" y="113"/>
                  </a:cxn>
                  <a:cxn ang="0">
                    <a:pos x="231" y="63"/>
                  </a:cxn>
                  <a:cxn ang="0">
                    <a:pos x="231" y="63"/>
                  </a:cxn>
                  <a:cxn ang="0">
                    <a:pos x="231" y="0"/>
                  </a:cxn>
                </a:cxnLst>
                <a:rect l="0" t="0" r="r" b="b"/>
                <a:pathLst>
                  <a:path w="231" h="232">
                    <a:moveTo>
                      <a:pt x="231" y="0"/>
                    </a:moveTo>
                    <a:cubicBezTo>
                      <a:pt x="167" y="0"/>
                      <a:pt x="109" y="26"/>
                      <a:pt x="67" y="68"/>
                    </a:cubicBezTo>
                    <a:lnTo>
                      <a:pt x="67" y="68"/>
                    </a:lnTo>
                    <a:cubicBezTo>
                      <a:pt x="26" y="110"/>
                      <a:pt x="0" y="168"/>
                      <a:pt x="0" y="232"/>
                    </a:cubicBezTo>
                    <a:lnTo>
                      <a:pt x="62" y="232"/>
                    </a:lnTo>
                    <a:cubicBezTo>
                      <a:pt x="62" y="185"/>
                      <a:pt x="81" y="143"/>
                      <a:pt x="112" y="112"/>
                    </a:cubicBezTo>
                    <a:lnTo>
                      <a:pt x="112" y="113"/>
                    </a:lnTo>
                    <a:cubicBezTo>
                      <a:pt x="142" y="82"/>
                      <a:pt x="185" y="63"/>
                      <a:pt x="231" y="63"/>
                    </a:cubicBezTo>
                    <a:lnTo>
                      <a:pt x="231" y="63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9" name="Freeform 194"/>
              <p:cNvSpPr>
                <a:spLocks/>
              </p:cNvSpPr>
              <p:nvPr/>
            </p:nvSpPr>
            <p:spPr bwMode="auto">
              <a:xfrm>
                <a:off x="4103" y="2375"/>
                <a:ext cx="47" cy="48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0" y="205"/>
                  </a:cxn>
                  <a:cxn ang="0">
                    <a:pos x="56" y="205"/>
                  </a:cxn>
                  <a:cxn ang="0">
                    <a:pos x="99" y="99"/>
                  </a:cxn>
                  <a:cxn ang="0">
                    <a:pos x="100" y="99"/>
                  </a:cxn>
                  <a:cxn ang="0">
                    <a:pos x="205" y="56"/>
                  </a:cxn>
                  <a:cxn ang="0">
                    <a:pos x="205" y="56"/>
                  </a:cxn>
                  <a:cxn ang="0">
                    <a:pos x="205" y="0"/>
                  </a:cxn>
                </a:cxnLst>
                <a:rect l="0" t="0" r="r" b="b"/>
                <a:pathLst>
                  <a:path w="205" h="205">
                    <a:moveTo>
                      <a:pt x="205" y="0"/>
                    </a:moveTo>
                    <a:cubicBezTo>
                      <a:pt x="149" y="0"/>
                      <a:pt x="98" y="23"/>
                      <a:pt x="60" y="60"/>
                    </a:cubicBezTo>
                    <a:lnTo>
                      <a:pt x="60" y="60"/>
                    </a:lnTo>
                    <a:cubicBezTo>
                      <a:pt x="23" y="97"/>
                      <a:pt x="0" y="149"/>
                      <a:pt x="0" y="205"/>
                    </a:cubicBezTo>
                    <a:lnTo>
                      <a:pt x="56" y="205"/>
                    </a:lnTo>
                    <a:cubicBezTo>
                      <a:pt x="56" y="164"/>
                      <a:pt x="72" y="126"/>
                      <a:pt x="99" y="99"/>
                    </a:cubicBezTo>
                    <a:lnTo>
                      <a:pt x="100" y="99"/>
                    </a:lnTo>
                    <a:cubicBezTo>
                      <a:pt x="127" y="72"/>
                      <a:pt x="164" y="56"/>
                      <a:pt x="205" y="56"/>
                    </a:cubicBezTo>
                    <a:lnTo>
                      <a:pt x="205" y="56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0" name="Freeform 195"/>
              <p:cNvSpPr>
                <a:spLocks/>
              </p:cNvSpPr>
              <p:nvPr/>
            </p:nvSpPr>
            <p:spPr bwMode="auto">
              <a:xfrm>
                <a:off x="4109" y="2381"/>
                <a:ext cx="41" cy="42"/>
              </a:xfrm>
              <a:custGeom>
                <a:avLst/>
                <a:gdLst/>
                <a:ahLst/>
                <a:cxnLst>
                  <a:cxn ang="0">
                    <a:pos x="178" y="0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0" y="178"/>
                  </a:cxn>
                  <a:cxn ang="0">
                    <a:pos x="48" y="178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178" y="48"/>
                  </a:cxn>
                  <a:cxn ang="0">
                    <a:pos x="178" y="48"/>
                  </a:cxn>
                  <a:cxn ang="0">
                    <a:pos x="178" y="0"/>
                  </a:cxn>
                </a:cxnLst>
                <a:rect l="0" t="0" r="r" b="b"/>
                <a:pathLst>
                  <a:path w="178" h="178">
                    <a:moveTo>
                      <a:pt x="178" y="0"/>
                    </a:moveTo>
                    <a:cubicBezTo>
                      <a:pt x="129" y="0"/>
                      <a:pt x="85" y="20"/>
                      <a:pt x="52" y="52"/>
                    </a:cubicBezTo>
                    <a:lnTo>
                      <a:pt x="52" y="52"/>
                    </a:lnTo>
                    <a:cubicBezTo>
                      <a:pt x="20" y="85"/>
                      <a:pt x="0" y="129"/>
                      <a:pt x="0" y="178"/>
                    </a:cubicBezTo>
                    <a:lnTo>
                      <a:pt x="48" y="178"/>
                    </a:lnTo>
                    <a:cubicBezTo>
                      <a:pt x="48" y="142"/>
                      <a:pt x="63" y="110"/>
                      <a:pt x="86" y="86"/>
                    </a:cubicBezTo>
                    <a:lnTo>
                      <a:pt x="86" y="86"/>
                    </a:lnTo>
                    <a:cubicBezTo>
                      <a:pt x="110" y="63"/>
                      <a:pt x="142" y="48"/>
                      <a:pt x="178" y="48"/>
                    </a:cubicBezTo>
                    <a:lnTo>
                      <a:pt x="178" y="48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1" name="Freeform 196"/>
              <p:cNvSpPr>
                <a:spLocks/>
              </p:cNvSpPr>
              <p:nvPr/>
            </p:nvSpPr>
            <p:spPr bwMode="auto">
              <a:xfrm>
                <a:off x="4116" y="2388"/>
                <a:ext cx="34" cy="35"/>
              </a:xfrm>
              <a:custGeom>
                <a:avLst/>
                <a:gdLst/>
                <a:ahLst/>
                <a:cxnLst>
                  <a:cxn ang="0">
                    <a:pos x="151" y="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0" y="151"/>
                  </a:cxn>
                  <a:cxn ang="0">
                    <a:pos x="41" y="151"/>
                  </a:cxn>
                  <a:cxn ang="0">
                    <a:pos x="73" y="73"/>
                  </a:cxn>
                  <a:cxn ang="0">
                    <a:pos x="73" y="73"/>
                  </a:cxn>
                  <a:cxn ang="0">
                    <a:pos x="151" y="41"/>
                  </a:cxn>
                  <a:cxn ang="0">
                    <a:pos x="151" y="41"/>
                  </a:cxn>
                  <a:cxn ang="0">
                    <a:pos x="151" y="0"/>
                  </a:cxn>
                </a:cxnLst>
                <a:rect l="0" t="0" r="r" b="b"/>
                <a:pathLst>
                  <a:path w="151" h="151">
                    <a:moveTo>
                      <a:pt x="151" y="0"/>
                    </a:moveTo>
                    <a:cubicBezTo>
                      <a:pt x="110" y="0"/>
                      <a:pt x="72" y="17"/>
                      <a:pt x="44" y="44"/>
                    </a:cubicBezTo>
                    <a:lnTo>
                      <a:pt x="44" y="44"/>
                    </a:lnTo>
                    <a:cubicBezTo>
                      <a:pt x="17" y="72"/>
                      <a:pt x="0" y="109"/>
                      <a:pt x="0" y="151"/>
                    </a:cubicBezTo>
                    <a:lnTo>
                      <a:pt x="41" y="151"/>
                    </a:lnTo>
                    <a:cubicBezTo>
                      <a:pt x="41" y="121"/>
                      <a:pt x="53" y="93"/>
                      <a:pt x="73" y="73"/>
                    </a:cubicBezTo>
                    <a:lnTo>
                      <a:pt x="73" y="73"/>
                    </a:lnTo>
                    <a:cubicBezTo>
                      <a:pt x="93" y="53"/>
                      <a:pt x="121" y="41"/>
                      <a:pt x="151" y="41"/>
                    </a:cubicBezTo>
                    <a:lnTo>
                      <a:pt x="151" y="41"/>
                    </a:ln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2" name="Freeform 197"/>
              <p:cNvSpPr>
                <a:spLocks/>
              </p:cNvSpPr>
              <p:nvPr/>
            </p:nvSpPr>
            <p:spPr bwMode="auto">
              <a:xfrm>
                <a:off x="4122" y="2394"/>
                <a:ext cx="28" cy="29"/>
              </a:xfrm>
              <a:custGeom>
                <a:avLst/>
                <a:gdLst/>
                <a:ahLst/>
                <a:cxnLst>
                  <a:cxn ang="0">
                    <a:pos x="124" y="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0" y="124"/>
                  </a:cxn>
                  <a:cxn ang="0">
                    <a:pos x="33" y="124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124" y="33"/>
                  </a:cxn>
                  <a:cxn ang="0">
                    <a:pos x="124" y="33"/>
                  </a:cxn>
                  <a:cxn ang="0">
                    <a:pos x="124" y="0"/>
                  </a:cxn>
                </a:cxnLst>
                <a:rect l="0" t="0" r="r" b="b"/>
                <a:pathLst>
                  <a:path w="124" h="124">
                    <a:moveTo>
                      <a:pt x="124" y="0"/>
                    </a:moveTo>
                    <a:cubicBezTo>
                      <a:pt x="90" y="0"/>
                      <a:pt x="59" y="13"/>
                      <a:pt x="36" y="36"/>
                    </a:cubicBezTo>
                    <a:lnTo>
                      <a:pt x="36" y="36"/>
                    </a:lnTo>
                    <a:cubicBezTo>
                      <a:pt x="14" y="59"/>
                      <a:pt x="0" y="90"/>
                      <a:pt x="0" y="124"/>
                    </a:cubicBezTo>
                    <a:lnTo>
                      <a:pt x="33" y="124"/>
                    </a:lnTo>
                    <a:cubicBezTo>
                      <a:pt x="33" y="99"/>
                      <a:pt x="44" y="76"/>
                      <a:pt x="60" y="60"/>
                    </a:cubicBezTo>
                    <a:lnTo>
                      <a:pt x="60" y="60"/>
                    </a:lnTo>
                    <a:cubicBezTo>
                      <a:pt x="77" y="43"/>
                      <a:pt x="99" y="33"/>
                      <a:pt x="124" y="33"/>
                    </a:cubicBezTo>
                    <a:lnTo>
                      <a:pt x="124" y="33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3" name="Freeform 198"/>
              <p:cNvSpPr>
                <a:spLocks/>
              </p:cNvSpPr>
              <p:nvPr/>
            </p:nvSpPr>
            <p:spPr bwMode="auto">
              <a:xfrm>
                <a:off x="4128" y="2400"/>
                <a:ext cx="22" cy="23"/>
              </a:xfrm>
              <a:custGeom>
                <a:avLst/>
                <a:gdLst/>
                <a:ahLst/>
                <a:cxnLst>
                  <a:cxn ang="0">
                    <a:pos x="98" y="0"/>
                  </a:cxn>
                  <a:cxn ang="0">
                    <a:pos x="29" y="29"/>
                  </a:cxn>
                  <a:cxn ang="0">
                    <a:pos x="29" y="29"/>
                  </a:cxn>
                  <a:cxn ang="0">
                    <a:pos x="0" y="98"/>
                  </a:cxn>
                  <a:cxn ang="0">
                    <a:pos x="13" y="98"/>
                  </a:cxn>
                  <a:cxn ang="0">
                    <a:pos x="27" y="98"/>
                  </a:cxn>
                  <a:cxn ang="0">
                    <a:pos x="98" y="98"/>
                  </a:cxn>
                  <a:cxn ang="0">
                    <a:pos x="98" y="70"/>
                  </a:cxn>
                  <a:cxn ang="0">
                    <a:pos x="98" y="63"/>
                  </a:cxn>
                  <a:cxn ang="0">
                    <a:pos x="98" y="26"/>
                  </a:cxn>
                  <a:cxn ang="0">
                    <a:pos x="98" y="26"/>
                  </a:cxn>
                  <a:cxn ang="0">
                    <a:pos x="98" y="23"/>
                  </a:cxn>
                  <a:cxn ang="0">
                    <a:pos x="98" y="0"/>
                  </a:cxn>
                </a:cxnLst>
                <a:rect l="0" t="0" r="r" b="b"/>
                <a:pathLst>
                  <a:path w="98" h="98">
                    <a:moveTo>
                      <a:pt x="98" y="0"/>
                    </a:moveTo>
                    <a:cubicBezTo>
                      <a:pt x="71" y="0"/>
                      <a:pt x="47" y="11"/>
                      <a:pt x="29" y="29"/>
                    </a:cubicBezTo>
                    <a:lnTo>
                      <a:pt x="29" y="29"/>
                    </a:lnTo>
                    <a:cubicBezTo>
                      <a:pt x="11" y="47"/>
                      <a:pt x="0" y="71"/>
                      <a:pt x="0" y="98"/>
                    </a:cubicBezTo>
                    <a:lnTo>
                      <a:pt x="13" y="98"/>
                    </a:lnTo>
                    <a:lnTo>
                      <a:pt x="27" y="98"/>
                    </a:lnTo>
                    <a:lnTo>
                      <a:pt x="98" y="98"/>
                    </a:lnTo>
                    <a:lnTo>
                      <a:pt x="98" y="70"/>
                    </a:lnTo>
                    <a:lnTo>
                      <a:pt x="98" y="63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3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4" name="Freeform 199"/>
              <p:cNvSpPr>
                <a:spLocks/>
              </p:cNvSpPr>
              <p:nvPr/>
            </p:nvSpPr>
            <p:spPr bwMode="auto">
              <a:xfrm>
                <a:off x="4134" y="2406"/>
                <a:ext cx="16" cy="17"/>
              </a:xfrm>
              <a:custGeom>
                <a:avLst/>
                <a:gdLst/>
                <a:ahLst/>
                <a:cxnLst>
                  <a:cxn ang="0">
                    <a:pos x="71" y="0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0" y="71"/>
                  </a:cxn>
                  <a:cxn ang="0">
                    <a:pos x="10" y="71"/>
                  </a:cxn>
                  <a:cxn ang="0">
                    <a:pos x="19" y="71"/>
                  </a:cxn>
                  <a:cxn ang="0">
                    <a:pos x="71" y="71"/>
                  </a:cxn>
                  <a:cxn ang="0">
                    <a:pos x="71" y="51"/>
                  </a:cxn>
                  <a:cxn ang="0">
                    <a:pos x="71" y="45"/>
                  </a:cxn>
                  <a:cxn ang="0">
                    <a:pos x="71" y="19"/>
                  </a:cxn>
                  <a:cxn ang="0">
                    <a:pos x="71" y="19"/>
                  </a:cxn>
                  <a:cxn ang="0">
                    <a:pos x="71" y="16"/>
                  </a:cxn>
                  <a:cxn ang="0">
                    <a:pos x="71" y="0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52" y="0"/>
                      <a:pt x="34" y="8"/>
                      <a:pt x="21" y="21"/>
                    </a:cubicBezTo>
                    <a:lnTo>
                      <a:pt x="21" y="21"/>
                    </a:lnTo>
                    <a:cubicBezTo>
                      <a:pt x="8" y="34"/>
                      <a:pt x="0" y="51"/>
                      <a:pt x="0" y="71"/>
                    </a:cubicBezTo>
                    <a:lnTo>
                      <a:pt x="10" y="71"/>
                    </a:lnTo>
                    <a:lnTo>
                      <a:pt x="19" y="71"/>
                    </a:lnTo>
                    <a:lnTo>
                      <a:pt x="71" y="71"/>
                    </a:lnTo>
                    <a:lnTo>
                      <a:pt x="71" y="51"/>
                    </a:lnTo>
                    <a:lnTo>
                      <a:pt x="71" y="45"/>
                    </a:lnTo>
                    <a:lnTo>
                      <a:pt x="71" y="19"/>
                    </a:lnTo>
                    <a:lnTo>
                      <a:pt x="71" y="19"/>
                    </a:lnTo>
                    <a:lnTo>
                      <a:pt x="71" y="16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5" name="Freeform 200"/>
              <p:cNvSpPr>
                <a:spLocks/>
              </p:cNvSpPr>
              <p:nvPr/>
            </p:nvSpPr>
            <p:spPr bwMode="auto">
              <a:xfrm>
                <a:off x="4140" y="2412"/>
                <a:ext cx="10" cy="11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13" y="14"/>
                  </a:cxn>
                  <a:cxn ang="0">
                    <a:pos x="13" y="14"/>
                  </a:cxn>
                  <a:cxn ang="0">
                    <a:pos x="0" y="45"/>
                  </a:cxn>
                  <a:cxn ang="0">
                    <a:pos x="44" y="45"/>
                  </a:cxn>
                  <a:cxn ang="0">
                    <a:pos x="44" y="32"/>
                  </a:cxn>
                  <a:cxn ang="0">
                    <a:pos x="44" y="29"/>
                  </a:cxn>
                  <a:cxn ang="0">
                    <a:pos x="44" y="13"/>
                  </a:cxn>
                  <a:cxn ang="0">
                    <a:pos x="44" y="13"/>
                  </a:cxn>
                  <a:cxn ang="0">
                    <a:pos x="44" y="11"/>
                  </a:cxn>
                  <a:cxn ang="0">
                    <a:pos x="44" y="0"/>
                  </a:cxn>
                </a:cxnLst>
                <a:rect l="0" t="0" r="r" b="b"/>
                <a:pathLst>
                  <a:path w="44" h="45">
                    <a:moveTo>
                      <a:pt x="44" y="0"/>
                    </a:moveTo>
                    <a:cubicBezTo>
                      <a:pt x="32" y="0"/>
                      <a:pt x="21" y="5"/>
                      <a:pt x="13" y="14"/>
                    </a:cubicBezTo>
                    <a:lnTo>
                      <a:pt x="13" y="14"/>
                    </a:lnTo>
                    <a:cubicBezTo>
                      <a:pt x="5" y="22"/>
                      <a:pt x="0" y="33"/>
                      <a:pt x="0" y="45"/>
                    </a:cubicBezTo>
                    <a:lnTo>
                      <a:pt x="44" y="45"/>
                    </a:lnTo>
                    <a:lnTo>
                      <a:pt x="44" y="32"/>
                    </a:lnTo>
                    <a:lnTo>
                      <a:pt x="44" y="29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1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6" name="Freeform 201"/>
              <p:cNvSpPr>
                <a:spLocks/>
              </p:cNvSpPr>
              <p:nvPr/>
            </p:nvSpPr>
            <p:spPr bwMode="auto">
              <a:xfrm>
                <a:off x="4146" y="2418"/>
                <a:ext cx="4" cy="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0" y="18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12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8" y="4"/>
                  </a:cxn>
                  <a:cxn ang="0">
                    <a:pos x="18" y="0"/>
                  </a:cxn>
                </a:cxnLst>
                <a:rect l="0" t="0" r="r" b="b"/>
                <a:pathLst>
                  <a:path w="18" h="18">
                    <a:moveTo>
                      <a:pt x="18" y="0"/>
                    </a:moveTo>
                    <a:cubicBezTo>
                      <a:pt x="13" y="0"/>
                      <a:pt x="9" y="2"/>
                      <a:pt x="6" y="5"/>
                    </a:cubicBezTo>
                    <a:lnTo>
                      <a:pt x="6" y="5"/>
                    </a:lnTo>
                    <a:cubicBezTo>
                      <a:pt x="2" y="9"/>
                      <a:pt x="0" y="13"/>
                      <a:pt x="0" y="18"/>
                    </a:cubicBezTo>
                    <a:lnTo>
                      <a:pt x="18" y="18"/>
                    </a:lnTo>
                    <a:lnTo>
                      <a:pt x="18" y="13"/>
                    </a:lnTo>
                    <a:lnTo>
                      <a:pt x="18" y="12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4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7" name="Freeform 202"/>
              <p:cNvSpPr>
                <a:spLocks/>
              </p:cNvSpPr>
              <p:nvPr/>
            </p:nvSpPr>
            <p:spPr bwMode="auto">
              <a:xfrm>
                <a:off x="3995" y="2422"/>
                <a:ext cx="155" cy="3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77" y="0"/>
                  </a:cxn>
                  <a:cxn ang="0">
                    <a:pos x="677" y="74"/>
                  </a:cxn>
                  <a:cxn ang="0">
                    <a:pos x="598" y="148"/>
                  </a:cxn>
                  <a:cxn ang="0">
                    <a:pos x="79" y="148"/>
                  </a:cxn>
                  <a:cxn ang="0">
                    <a:pos x="0" y="74"/>
                  </a:cxn>
                  <a:cxn ang="0">
                    <a:pos x="0" y="0"/>
                  </a:cxn>
                </a:cxnLst>
                <a:rect l="0" t="0" r="r" b="b"/>
                <a:pathLst>
                  <a:path w="677" h="148">
                    <a:moveTo>
                      <a:pt x="0" y="0"/>
                    </a:moveTo>
                    <a:lnTo>
                      <a:pt x="677" y="0"/>
                    </a:lnTo>
                    <a:lnTo>
                      <a:pt x="677" y="74"/>
                    </a:lnTo>
                    <a:cubicBezTo>
                      <a:pt x="677" y="115"/>
                      <a:pt x="642" y="148"/>
                      <a:pt x="598" y="148"/>
                    </a:cubicBezTo>
                    <a:lnTo>
                      <a:pt x="79" y="148"/>
                    </a:lnTo>
                    <a:cubicBezTo>
                      <a:pt x="36" y="148"/>
                      <a:pt x="0" y="115"/>
                      <a:pt x="0" y="7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8" name="Rectangle 203"/>
              <p:cNvSpPr>
                <a:spLocks noChangeArrowheads="1"/>
              </p:cNvSpPr>
              <p:nvPr/>
            </p:nvSpPr>
            <p:spPr bwMode="auto">
              <a:xfrm>
                <a:off x="3627" y="2422"/>
                <a:ext cx="368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9" name="Rectangle 204"/>
              <p:cNvSpPr>
                <a:spLocks noChangeArrowheads="1"/>
              </p:cNvSpPr>
              <p:nvPr/>
            </p:nvSpPr>
            <p:spPr bwMode="auto">
              <a:xfrm>
                <a:off x="4011" y="2422"/>
                <a:ext cx="123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sp>
          <p:nvSpPr>
            <p:cNvPr id="128" name="Rectangle 206"/>
            <p:cNvSpPr>
              <a:spLocks noChangeArrowheads="1"/>
            </p:cNvSpPr>
            <p:nvPr/>
          </p:nvSpPr>
          <p:spPr bwMode="auto">
            <a:xfrm>
              <a:off x="4011" y="2422"/>
              <a:ext cx="123" cy="7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420" name="Group 209"/>
          <p:cNvGrpSpPr>
            <a:grpSpLocks noChangeAspect="1"/>
          </p:cNvGrpSpPr>
          <p:nvPr/>
        </p:nvGrpSpPr>
        <p:grpSpPr bwMode="auto">
          <a:xfrm>
            <a:off x="544134" y="3412348"/>
            <a:ext cx="1111383" cy="707244"/>
            <a:chOff x="97" y="2164"/>
            <a:chExt cx="792" cy="504"/>
          </a:xfrm>
        </p:grpSpPr>
        <p:sp>
          <p:nvSpPr>
            <p:cNvPr id="421" name="AutoShape 208"/>
            <p:cNvSpPr>
              <a:spLocks noChangeAspect="1" noChangeArrowheads="1" noTextEdit="1"/>
            </p:cNvSpPr>
            <p:nvPr/>
          </p:nvSpPr>
          <p:spPr bwMode="auto">
            <a:xfrm>
              <a:off x="97" y="2164"/>
              <a:ext cx="792" cy="5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2" name="Freeform 210"/>
            <p:cNvSpPr>
              <a:spLocks/>
            </p:cNvSpPr>
            <p:nvPr/>
          </p:nvSpPr>
          <p:spPr bwMode="auto">
            <a:xfrm>
              <a:off x="226" y="2268"/>
              <a:ext cx="540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2263" y="0"/>
                </a:cxn>
                <a:cxn ang="0">
                  <a:pos x="2338" y="75"/>
                </a:cxn>
                <a:cxn ang="0">
                  <a:pos x="2338" y="1563"/>
                </a:cxn>
                <a:cxn ang="0">
                  <a:pos x="2263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2338" h="1638">
                  <a:moveTo>
                    <a:pt x="75" y="0"/>
                  </a:moveTo>
                  <a:lnTo>
                    <a:pt x="2263" y="0"/>
                  </a:lnTo>
                  <a:cubicBezTo>
                    <a:pt x="2305" y="0"/>
                    <a:pt x="2338" y="34"/>
                    <a:pt x="2338" y="75"/>
                  </a:cubicBezTo>
                  <a:lnTo>
                    <a:pt x="2338" y="1563"/>
                  </a:lnTo>
                  <a:cubicBezTo>
                    <a:pt x="2338" y="1604"/>
                    <a:pt x="2305" y="1638"/>
                    <a:pt x="2263" y="1638"/>
                  </a:cubicBez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3" name="Freeform 211"/>
            <p:cNvSpPr>
              <a:spLocks/>
            </p:cNvSpPr>
            <p:nvPr/>
          </p:nvSpPr>
          <p:spPr bwMode="auto">
            <a:xfrm>
              <a:off x="226" y="2268"/>
              <a:ext cx="462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999" y="0"/>
                </a:cxn>
                <a:cxn ang="0">
                  <a:pos x="361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1999" h="1638">
                  <a:moveTo>
                    <a:pt x="75" y="0"/>
                  </a:moveTo>
                  <a:lnTo>
                    <a:pt x="1999" y="0"/>
                  </a:lnTo>
                  <a:lnTo>
                    <a:pt x="361" y="1638"/>
                  </a:ln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51F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4" name="Rectangle 212"/>
            <p:cNvSpPr>
              <a:spLocks noChangeArrowheads="1"/>
            </p:cNvSpPr>
            <p:nvPr/>
          </p:nvSpPr>
          <p:spPr bwMode="auto">
            <a:xfrm>
              <a:off x="252" y="2296"/>
              <a:ext cx="489" cy="329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5" name="Freeform 213"/>
            <p:cNvSpPr>
              <a:spLocks/>
            </p:cNvSpPr>
            <p:nvPr/>
          </p:nvSpPr>
          <p:spPr bwMode="auto">
            <a:xfrm>
              <a:off x="130" y="2657"/>
              <a:ext cx="735" cy="15"/>
            </a:xfrm>
            <a:custGeom>
              <a:avLst/>
              <a:gdLst/>
              <a:ahLst/>
              <a:cxnLst>
                <a:cxn ang="0">
                  <a:pos x="1592" y="65"/>
                </a:cxn>
                <a:cxn ang="0">
                  <a:pos x="121" y="65"/>
                </a:cxn>
                <a:cxn ang="0">
                  <a:pos x="0" y="2"/>
                </a:cxn>
                <a:cxn ang="0">
                  <a:pos x="1592" y="0"/>
                </a:cxn>
                <a:cxn ang="0">
                  <a:pos x="3183" y="2"/>
                </a:cxn>
                <a:cxn ang="0">
                  <a:pos x="3063" y="65"/>
                </a:cxn>
                <a:cxn ang="0">
                  <a:pos x="1592" y="65"/>
                </a:cxn>
              </a:cxnLst>
              <a:rect l="0" t="0" r="r" b="b"/>
              <a:pathLst>
                <a:path w="3183" h="65">
                  <a:moveTo>
                    <a:pt x="1592" y="65"/>
                  </a:moveTo>
                  <a:lnTo>
                    <a:pt x="121" y="65"/>
                  </a:lnTo>
                  <a:cubicBezTo>
                    <a:pt x="62" y="65"/>
                    <a:pt x="22" y="23"/>
                    <a:pt x="0" y="2"/>
                  </a:cubicBezTo>
                  <a:lnTo>
                    <a:pt x="1592" y="0"/>
                  </a:lnTo>
                  <a:lnTo>
                    <a:pt x="3183" y="2"/>
                  </a:lnTo>
                  <a:cubicBezTo>
                    <a:pt x="3161" y="23"/>
                    <a:pt x="3121" y="65"/>
                    <a:pt x="3063" y="65"/>
                  </a:cubicBezTo>
                  <a:lnTo>
                    <a:pt x="1592" y="65"/>
                  </a:lnTo>
                  <a:close/>
                </a:path>
              </a:pathLst>
            </a:custGeom>
            <a:solidFill>
              <a:srgbClr val="354A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6" name="Freeform 214"/>
            <p:cNvSpPr>
              <a:spLocks/>
            </p:cNvSpPr>
            <p:nvPr/>
          </p:nvSpPr>
          <p:spPr bwMode="auto">
            <a:xfrm>
              <a:off x="125" y="2642"/>
              <a:ext cx="744" cy="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19" y="0"/>
                </a:cxn>
                <a:cxn ang="0">
                  <a:pos x="3219" y="35"/>
                </a:cxn>
                <a:cxn ang="0">
                  <a:pos x="3185" y="69"/>
                </a:cxn>
                <a:cxn ang="0">
                  <a:pos x="35" y="69"/>
                </a:cxn>
                <a:cxn ang="0">
                  <a:pos x="0" y="35"/>
                </a:cxn>
                <a:cxn ang="0">
                  <a:pos x="0" y="0"/>
                </a:cxn>
              </a:cxnLst>
              <a:rect l="0" t="0" r="r" b="b"/>
              <a:pathLst>
                <a:path w="3219" h="69">
                  <a:moveTo>
                    <a:pt x="0" y="0"/>
                  </a:moveTo>
                  <a:lnTo>
                    <a:pt x="3219" y="0"/>
                  </a:lnTo>
                  <a:lnTo>
                    <a:pt x="3219" y="35"/>
                  </a:lnTo>
                  <a:cubicBezTo>
                    <a:pt x="3219" y="54"/>
                    <a:pt x="3204" y="69"/>
                    <a:pt x="3185" y="69"/>
                  </a:cubicBezTo>
                  <a:lnTo>
                    <a:pt x="35" y="69"/>
                  </a:lnTo>
                  <a:cubicBezTo>
                    <a:pt x="16" y="69"/>
                    <a:pt x="0" y="54"/>
                    <a:pt x="0" y="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7" name="Freeform 215"/>
            <p:cNvSpPr>
              <a:spLocks/>
            </p:cNvSpPr>
            <p:nvPr/>
          </p:nvSpPr>
          <p:spPr bwMode="auto">
            <a:xfrm>
              <a:off x="446" y="2642"/>
              <a:ext cx="103" cy="8"/>
            </a:xfrm>
            <a:custGeom>
              <a:avLst/>
              <a:gdLst/>
              <a:ahLst/>
              <a:cxnLst>
                <a:cxn ang="0">
                  <a:pos x="446" y="0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10" y="32"/>
                </a:cxn>
                <a:cxn ang="0">
                  <a:pos x="36" y="32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17" y="15"/>
                </a:cxn>
                <a:cxn ang="0">
                  <a:pos x="17" y="15"/>
                </a:cxn>
                <a:cxn ang="0">
                  <a:pos x="36" y="23"/>
                </a:cxn>
                <a:cxn ang="0">
                  <a:pos x="410" y="23"/>
                </a:cxn>
                <a:cxn ang="0">
                  <a:pos x="429" y="16"/>
                </a:cxn>
                <a:cxn ang="0">
                  <a:pos x="429" y="16"/>
                </a:cxn>
                <a:cxn ang="0">
                  <a:pos x="429" y="15"/>
                </a:cxn>
                <a:cxn ang="0">
                  <a:pos x="437" y="0"/>
                </a:cxn>
                <a:cxn ang="0">
                  <a:pos x="446" y="0"/>
                </a:cxn>
              </a:cxnLst>
              <a:rect l="0" t="0" r="r" b="b"/>
              <a:pathLst>
                <a:path w="446" h="32">
                  <a:moveTo>
                    <a:pt x="446" y="0"/>
                  </a:moveTo>
                  <a:cubicBezTo>
                    <a:pt x="445" y="9"/>
                    <a:pt x="441" y="16"/>
                    <a:pt x="435" y="22"/>
                  </a:cubicBezTo>
                  <a:lnTo>
                    <a:pt x="435" y="22"/>
                  </a:lnTo>
                  <a:lnTo>
                    <a:pt x="435" y="22"/>
                  </a:lnTo>
                  <a:cubicBezTo>
                    <a:pt x="428" y="28"/>
                    <a:pt x="419" y="32"/>
                    <a:pt x="410" y="32"/>
                  </a:cubicBezTo>
                  <a:lnTo>
                    <a:pt x="36" y="32"/>
                  </a:lnTo>
                  <a:cubicBezTo>
                    <a:pt x="26" y="32"/>
                    <a:pt x="17" y="28"/>
                    <a:pt x="11" y="22"/>
                  </a:cubicBezTo>
                  <a:lnTo>
                    <a:pt x="11" y="22"/>
                  </a:lnTo>
                  <a:cubicBezTo>
                    <a:pt x="5" y="16"/>
                    <a:pt x="1" y="9"/>
                    <a:pt x="0" y="0"/>
                  </a:cubicBezTo>
                  <a:lnTo>
                    <a:pt x="9" y="0"/>
                  </a:lnTo>
                  <a:cubicBezTo>
                    <a:pt x="10" y="6"/>
                    <a:pt x="13" y="11"/>
                    <a:pt x="17" y="15"/>
                  </a:cubicBezTo>
                  <a:lnTo>
                    <a:pt x="17" y="15"/>
                  </a:lnTo>
                  <a:cubicBezTo>
                    <a:pt x="22" y="20"/>
                    <a:pt x="29" y="23"/>
                    <a:pt x="36" y="23"/>
                  </a:cubicBezTo>
                  <a:lnTo>
                    <a:pt x="410" y="23"/>
                  </a:lnTo>
                  <a:cubicBezTo>
                    <a:pt x="417" y="23"/>
                    <a:pt x="424" y="20"/>
                    <a:pt x="429" y="16"/>
                  </a:cubicBezTo>
                  <a:lnTo>
                    <a:pt x="429" y="16"/>
                  </a:lnTo>
                  <a:lnTo>
                    <a:pt x="429" y="15"/>
                  </a:lnTo>
                  <a:cubicBezTo>
                    <a:pt x="433" y="11"/>
                    <a:pt x="436" y="6"/>
                    <a:pt x="437" y="0"/>
                  </a:cubicBezTo>
                  <a:lnTo>
                    <a:pt x="446" y="0"/>
                  </a:lnTo>
                  <a:close/>
                </a:path>
              </a:pathLst>
            </a:custGeom>
            <a:solidFill>
              <a:srgbClr val="89A0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8" name="Freeform 216"/>
            <p:cNvSpPr>
              <a:spLocks/>
            </p:cNvSpPr>
            <p:nvPr/>
          </p:nvSpPr>
          <p:spPr bwMode="auto">
            <a:xfrm>
              <a:off x="252" y="2296"/>
              <a:ext cx="409" cy="329"/>
            </a:xfrm>
            <a:custGeom>
              <a:avLst/>
              <a:gdLst/>
              <a:ahLst/>
              <a:cxnLst>
                <a:cxn ang="0">
                  <a:pos x="0" y="1415"/>
                </a:cxn>
                <a:cxn ang="0">
                  <a:pos x="357" y="1415"/>
                </a:cxn>
                <a:cxn ang="0">
                  <a:pos x="1772" y="0"/>
                </a:cxn>
                <a:cxn ang="0">
                  <a:pos x="0" y="0"/>
                </a:cxn>
                <a:cxn ang="0">
                  <a:pos x="0" y="1415"/>
                </a:cxn>
              </a:cxnLst>
              <a:rect l="0" t="0" r="r" b="b"/>
              <a:pathLst>
                <a:path w="1772" h="1415">
                  <a:moveTo>
                    <a:pt x="0" y="1415"/>
                  </a:moveTo>
                  <a:lnTo>
                    <a:pt x="357" y="1415"/>
                  </a:lnTo>
                  <a:lnTo>
                    <a:pt x="1772" y="0"/>
                  </a:lnTo>
                  <a:lnTo>
                    <a:pt x="0" y="0"/>
                  </a:lnTo>
                  <a:lnTo>
                    <a:pt x="0" y="1415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9" name="Freeform 217"/>
            <p:cNvSpPr>
              <a:spLocks/>
            </p:cNvSpPr>
            <p:nvPr/>
          </p:nvSpPr>
          <p:spPr bwMode="auto">
            <a:xfrm>
              <a:off x="303" y="2164"/>
              <a:ext cx="387" cy="461"/>
            </a:xfrm>
            <a:custGeom>
              <a:avLst/>
              <a:gdLst/>
              <a:ahLst/>
              <a:cxnLst>
                <a:cxn ang="0">
                  <a:pos x="0" y="1980"/>
                </a:cxn>
                <a:cxn ang="0">
                  <a:pos x="1678" y="1980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980"/>
                </a:cxn>
              </a:cxnLst>
              <a:rect l="0" t="0" r="r" b="b"/>
              <a:pathLst>
                <a:path w="1678" h="1980">
                  <a:moveTo>
                    <a:pt x="0" y="1980"/>
                  </a:moveTo>
                  <a:lnTo>
                    <a:pt x="1678" y="1980"/>
                  </a:ln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98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0" name="Freeform 218"/>
            <p:cNvSpPr>
              <a:spLocks/>
            </p:cNvSpPr>
            <p:nvPr/>
          </p:nvSpPr>
          <p:spPr bwMode="auto">
            <a:xfrm>
              <a:off x="303" y="2164"/>
              <a:ext cx="387" cy="30"/>
            </a:xfrm>
            <a:custGeom>
              <a:avLst/>
              <a:gdLst/>
              <a:ahLst/>
              <a:cxnLst>
                <a:cxn ang="0">
                  <a:pos x="1678" y="128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28"/>
                </a:cxn>
                <a:cxn ang="0">
                  <a:pos x="1678" y="128"/>
                </a:cxn>
              </a:cxnLst>
              <a:rect l="0" t="0" r="r" b="b"/>
              <a:pathLst>
                <a:path w="1678" h="128">
                  <a:moveTo>
                    <a:pt x="1678" y="128"/>
                  </a:move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28"/>
                  </a:lnTo>
                  <a:lnTo>
                    <a:pt x="1678" y="128"/>
                  </a:lnTo>
                  <a:close/>
                </a:path>
              </a:pathLst>
            </a:custGeom>
            <a:solidFill>
              <a:srgbClr val="4350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1" name="Freeform 219"/>
            <p:cNvSpPr>
              <a:spLocks/>
            </p:cNvSpPr>
            <p:nvPr/>
          </p:nvSpPr>
          <p:spPr bwMode="auto">
            <a:xfrm>
              <a:off x="268" y="2295"/>
              <a:ext cx="35" cy="330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0" y="0"/>
                </a:cxn>
                <a:cxn ang="0">
                  <a:pos x="148" y="1416"/>
                </a:cxn>
                <a:cxn ang="0">
                  <a:pos x="148" y="0"/>
                </a:cxn>
              </a:cxnLst>
              <a:rect l="0" t="0" r="r" b="b"/>
              <a:pathLst>
                <a:path w="148" h="1416">
                  <a:moveTo>
                    <a:pt x="148" y="0"/>
                  </a:moveTo>
                  <a:lnTo>
                    <a:pt x="0" y="0"/>
                  </a:lnTo>
                  <a:lnTo>
                    <a:pt x="148" y="1416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2" name="Freeform 220"/>
            <p:cNvSpPr>
              <a:spLocks/>
            </p:cNvSpPr>
            <p:nvPr/>
          </p:nvSpPr>
          <p:spPr bwMode="auto">
            <a:xfrm>
              <a:off x="690" y="2295"/>
              <a:ext cx="34" cy="3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9" y="0"/>
                </a:cxn>
                <a:cxn ang="0">
                  <a:pos x="0" y="1416"/>
                </a:cxn>
                <a:cxn ang="0">
                  <a:pos x="0" y="0"/>
                </a:cxn>
              </a:cxnLst>
              <a:rect l="0" t="0" r="r" b="b"/>
              <a:pathLst>
                <a:path w="149" h="1416">
                  <a:moveTo>
                    <a:pt x="0" y="0"/>
                  </a:moveTo>
                  <a:lnTo>
                    <a:pt x="149" y="0"/>
                  </a:lnTo>
                  <a:lnTo>
                    <a:pt x="0" y="14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3" name="Oval 221"/>
            <p:cNvSpPr>
              <a:spLocks noChangeArrowheads="1"/>
            </p:cNvSpPr>
            <p:nvPr/>
          </p:nvSpPr>
          <p:spPr bwMode="auto">
            <a:xfrm>
              <a:off x="317" y="2175"/>
              <a:ext cx="8" cy="8"/>
            </a:xfrm>
            <a:prstGeom prst="ellipse">
              <a:avLst/>
            </a:pr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4" name="Oval 222"/>
            <p:cNvSpPr>
              <a:spLocks noChangeArrowheads="1"/>
            </p:cNvSpPr>
            <p:nvPr/>
          </p:nvSpPr>
          <p:spPr bwMode="auto">
            <a:xfrm>
              <a:off x="333" y="2175"/>
              <a:ext cx="8" cy="8"/>
            </a:xfrm>
            <a:prstGeom prst="ellipse">
              <a:avLst/>
            </a:pr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5" name="Oval 223"/>
            <p:cNvSpPr>
              <a:spLocks noChangeArrowheads="1"/>
            </p:cNvSpPr>
            <p:nvPr/>
          </p:nvSpPr>
          <p:spPr bwMode="auto">
            <a:xfrm>
              <a:off x="350" y="2175"/>
              <a:ext cx="8" cy="8"/>
            </a:xfrm>
            <a:prstGeom prst="ellipse">
              <a:avLst/>
            </a:prstGeom>
            <a:solidFill>
              <a:srgbClr val="92AC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6" name="Rectangle 224"/>
            <p:cNvSpPr>
              <a:spLocks noChangeArrowheads="1"/>
            </p:cNvSpPr>
            <p:nvPr/>
          </p:nvSpPr>
          <p:spPr bwMode="auto">
            <a:xfrm>
              <a:off x="375" y="2173"/>
              <a:ext cx="29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7" name="Rectangle 225"/>
            <p:cNvSpPr>
              <a:spLocks noChangeArrowheads="1"/>
            </p:cNvSpPr>
            <p:nvPr/>
          </p:nvSpPr>
          <p:spPr bwMode="auto">
            <a:xfrm>
              <a:off x="352" y="2566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8" name="Rectangle 226"/>
            <p:cNvSpPr>
              <a:spLocks noChangeArrowheads="1"/>
            </p:cNvSpPr>
            <p:nvPr/>
          </p:nvSpPr>
          <p:spPr bwMode="auto">
            <a:xfrm>
              <a:off x="352" y="2540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5" name="Rectangle 227"/>
            <p:cNvSpPr>
              <a:spLocks noChangeArrowheads="1"/>
            </p:cNvSpPr>
            <p:nvPr/>
          </p:nvSpPr>
          <p:spPr bwMode="auto">
            <a:xfrm>
              <a:off x="352" y="2515"/>
              <a:ext cx="289" cy="3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6" name="Rectangle 228"/>
            <p:cNvSpPr>
              <a:spLocks noChangeArrowheads="1"/>
            </p:cNvSpPr>
            <p:nvPr/>
          </p:nvSpPr>
          <p:spPr bwMode="auto">
            <a:xfrm>
              <a:off x="352" y="2489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7" name="Rectangle 229"/>
            <p:cNvSpPr>
              <a:spLocks noChangeArrowheads="1"/>
            </p:cNvSpPr>
            <p:nvPr/>
          </p:nvSpPr>
          <p:spPr bwMode="auto">
            <a:xfrm>
              <a:off x="352" y="2250"/>
              <a:ext cx="289" cy="4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8" name="Rectangle 230"/>
            <p:cNvSpPr>
              <a:spLocks noChangeArrowheads="1"/>
            </p:cNvSpPr>
            <p:nvPr/>
          </p:nvSpPr>
          <p:spPr bwMode="auto">
            <a:xfrm>
              <a:off x="352" y="2218"/>
              <a:ext cx="289" cy="17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9" name="Freeform 231"/>
            <p:cNvSpPr>
              <a:spLocks/>
            </p:cNvSpPr>
            <p:nvPr/>
          </p:nvSpPr>
          <p:spPr bwMode="auto">
            <a:xfrm>
              <a:off x="564" y="2280"/>
              <a:ext cx="36" cy="66"/>
            </a:xfrm>
            <a:custGeom>
              <a:avLst/>
              <a:gdLst/>
              <a:ahLst/>
              <a:cxnLst>
                <a:cxn ang="0">
                  <a:pos x="52" y="285"/>
                </a:cxn>
                <a:cxn ang="0">
                  <a:pos x="0" y="165"/>
                </a:cxn>
                <a:cxn ang="0">
                  <a:pos x="154" y="0"/>
                </a:cxn>
                <a:cxn ang="0">
                  <a:pos x="154" y="74"/>
                </a:cxn>
                <a:cxn ang="0">
                  <a:pos x="73" y="165"/>
                </a:cxn>
                <a:cxn ang="0">
                  <a:pos x="99" y="228"/>
                </a:cxn>
                <a:cxn ang="0">
                  <a:pos x="52" y="285"/>
                </a:cxn>
              </a:cxnLst>
              <a:rect l="0" t="0" r="r" b="b"/>
              <a:pathLst>
                <a:path w="154" h="285">
                  <a:moveTo>
                    <a:pt x="52" y="285"/>
                  </a:moveTo>
                  <a:cubicBezTo>
                    <a:pt x="20" y="255"/>
                    <a:pt x="0" y="212"/>
                    <a:pt x="0" y="165"/>
                  </a:cubicBezTo>
                  <a:cubicBezTo>
                    <a:pt x="0" y="77"/>
                    <a:pt x="68" y="6"/>
                    <a:pt x="154" y="0"/>
                  </a:cubicBezTo>
                  <a:lnTo>
                    <a:pt x="154" y="74"/>
                  </a:lnTo>
                  <a:cubicBezTo>
                    <a:pt x="109" y="79"/>
                    <a:pt x="73" y="118"/>
                    <a:pt x="73" y="165"/>
                  </a:cubicBezTo>
                  <a:cubicBezTo>
                    <a:pt x="73" y="189"/>
                    <a:pt x="83" y="212"/>
                    <a:pt x="99" y="228"/>
                  </a:cubicBezTo>
                  <a:lnTo>
                    <a:pt x="52" y="285"/>
                  </a:lnTo>
                  <a:close/>
                </a:path>
              </a:pathLst>
            </a:custGeom>
            <a:solidFill>
              <a:srgbClr val="6C87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0" name="Freeform 232"/>
            <p:cNvSpPr>
              <a:spLocks/>
            </p:cNvSpPr>
            <p:nvPr/>
          </p:nvSpPr>
          <p:spPr bwMode="auto">
            <a:xfrm>
              <a:off x="609" y="2313"/>
              <a:ext cx="32" cy="43"/>
            </a:xfrm>
            <a:custGeom>
              <a:avLst/>
              <a:gdLst/>
              <a:ahLst/>
              <a:cxnLst>
                <a:cxn ang="0">
                  <a:pos x="136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1"/>
                </a:cxn>
                <a:cxn ang="0">
                  <a:pos x="65" y="24"/>
                </a:cxn>
                <a:cxn ang="0">
                  <a:pos x="64" y="15"/>
                </a:cxn>
                <a:cxn ang="0">
                  <a:pos x="136" y="0"/>
                </a:cxn>
              </a:cxnLst>
              <a:rect l="0" t="0" r="r" b="b"/>
              <a:pathLst>
                <a:path w="138" h="184">
                  <a:moveTo>
                    <a:pt x="136" y="0"/>
                  </a:moveTo>
                  <a:cubicBezTo>
                    <a:pt x="137" y="8"/>
                    <a:pt x="138" y="16"/>
                    <a:pt x="138" y="24"/>
                  </a:cubicBezTo>
                  <a:cubicBezTo>
                    <a:pt x="138" y="101"/>
                    <a:pt x="84" y="166"/>
                    <a:pt x="13" y="184"/>
                  </a:cubicBezTo>
                  <a:lnTo>
                    <a:pt x="0" y="111"/>
                  </a:lnTo>
                  <a:cubicBezTo>
                    <a:pt x="37" y="100"/>
                    <a:pt x="65" y="65"/>
                    <a:pt x="65" y="24"/>
                  </a:cubicBezTo>
                  <a:cubicBezTo>
                    <a:pt x="65" y="21"/>
                    <a:pt x="65" y="18"/>
                    <a:pt x="64" y="15"/>
                  </a:cubicBezTo>
                  <a:lnTo>
                    <a:pt x="136" y="0"/>
                  </a:ln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1" name="Freeform 233"/>
            <p:cNvSpPr>
              <a:spLocks/>
            </p:cNvSpPr>
            <p:nvPr/>
          </p:nvSpPr>
          <p:spPr bwMode="auto">
            <a:xfrm>
              <a:off x="580" y="2336"/>
              <a:ext cx="27" cy="21"/>
            </a:xfrm>
            <a:custGeom>
              <a:avLst/>
              <a:gdLst/>
              <a:ahLst/>
              <a:cxnLst>
                <a:cxn ang="0">
                  <a:pos x="114" y="86"/>
                </a:cxn>
                <a:cxn ang="0">
                  <a:pos x="96" y="87"/>
                </a:cxn>
                <a:cxn ang="0">
                  <a:pos x="0" y="57"/>
                </a:cxn>
                <a:cxn ang="0">
                  <a:pos x="47" y="0"/>
                </a:cxn>
                <a:cxn ang="0">
                  <a:pos x="96" y="14"/>
                </a:cxn>
                <a:cxn ang="0">
                  <a:pos x="101" y="14"/>
                </a:cxn>
                <a:cxn ang="0">
                  <a:pos x="114" y="86"/>
                </a:cxn>
              </a:cxnLst>
              <a:rect l="0" t="0" r="r" b="b"/>
              <a:pathLst>
                <a:path w="114" h="87">
                  <a:moveTo>
                    <a:pt x="114" y="86"/>
                  </a:moveTo>
                  <a:cubicBezTo>
                    <a:pt x="108" y="87"/>
                    <a:pt x="102" y="87"/>
                    <a:pt x="96" y="87"/>
                  </a:cubicBezTo>
                  <a:cubicBezTo>
                    <a:pt x="60" y="87"/>
                    <a:pt x="27" y="76"/>
                    <a:pt x="0" y="57"/>
                  </a:cubicBezTo>
                  <a:lnTo>
                    <a:pt x="47" y="0"/>
                  </a:lnTo>
                  <a:cubicBezTo>
                    <a:pt x="61" y="9"/>
                    <a:pt x="78" y="14"/>
                    <a:pt x="96" y="14"/>
                  </a:cubicBezTo>
                  <a:cubicBezTo>
                    <a:pt x="98" y="14"/>
                    <a:pt x="99" y="14"/>
                    <a:pt x="101" y="14"/>
                  </a:cubicBezTo>
                  <a:lnTo>
                    <a:pt x="114" y="86"/>
                  </a:lnTo>
                  <a:close/>
                </a:path>
              </a:pathLst>
            </a:custGeom>
            <a:solidFill>
              <a:srgbClr val="2184A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2" name="Freeform 234"/>
            <p:cNvSpPr>
              <a:spLocks/>
            </p:cNvSpPr>
            <p:nvPr/>
          </p:nvSpPr>
          <p:spPr bwMode="auto">
            <a:xfrm>
              <a:off x="605" y="2280"/>
              <a:ext cx="34" cy="31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76" y="135"/>
                </a:cxn>
                <a:cxn ang="0">
                  <a:pos x="147" y="119"/>
                </a:cxn>
                <a:cxn ang="0">
                  <a:pos x="0" y="0"/>
                </a:cxn>
                <a:cxn ang="0">
                  <a:pos x="0" y="74"/>
                </a:cxn>
              </a:cxnLst>
              <a:rect l="0" t="0" r="r" b="b"/>
              <a:pathLst>
                <a:path w="147" h="135">
                  <a:moveTo>
                    <a:pt x="0" y="74"/>
                  </a:moveTo>
                  <a:cubicBezTo>
                    <a:pt x="35" y="78"/>
                    <a:pt x="64" y="102"/>
                    <a:pt x="76" y="135"/>
                  </a:cubicBezTo>
                  <a:lnTo>
                    <a:pt x="147" y="119"/>
                  </a:lnTo>
                  <a:cubicBezTo>
                    <a:pt x="129" y="54"/>
                    <a:pt x="70" y="5"/>
                    <a:pt x="0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3" name="Freeform 235"/>
            <p:cNvSpPr>
              <a:spLocks/>
            </p:cNvSpPr>
            <p:nvPr/>
          </p:nvSpPr>
          <p:spPr bwMode="auto">
            <a:xfrm>
              <a:off x="566" y="2382"/>
              <a:ext cx="35" cy="67"/>
            </a:xfrm>
            <a:custGeom>
              <a:avLst/>
              <a:gdLst/>
              <a:ahLst/>
              <a:cxnLst>
                <a:cxn ang="0">
                  <a:pos x="52" y="284"/>
                </a:cxn>
                <a:cxn ang="0">
                  <a:pos x="0" y="164"/>
                </a:cxn>
                <a:cxn ang="0">
                  <a:pos x="154" y="0"/>
                </a:cxn>
                <a:cxn ang="0">
                  <a:pos x="154" y="73"/>
                </a:cxn>
                <a:cxn ang="0">
                  <a:pos x="73" y="164"/>
                </a:cxn>
                <a:cxn ang="0">
                  <a:pos x="98" y="227"/>
                </a:cxn>
                <a:cxn ang="0">
                  <a:pos x="52" y="284"/>
                </a:cxn>
              </a:cxnLst>
              <a:rect l="0" t="0" r="r" b="b"/>
              <a:pathLst>
                <a:path w="154" h="284">
                  <a:moveTo>
                    <a:pt x="52" y="284"/>
                  </a:moveTo>
                  <a:cubicBezTo>
                    <a:pt x="20" y="254"/>
                    <a:pt x="0" y="211"/>
                    <a:pt x="0" y="164"/>
                  </a:cubicBezTo>
                  <a:cubicBezTo>
                    <a:pt x="0" y="77"/>
                    <a:pt x="68" y="5"/>
                    <a:pt x="154" y="0"/>
                  </a:cubicBezTo>
                  <a:lnTo>
                    <a:pt x="154" y="73"/>
                  </a:lnTo>
                  <a:cubicBezTo>
                    <a:pt x="108" y="78"/>
                    <a:pt x="73" y="117"/>
                    <a:pt x="73" y="164"/>
                  </a:cubicBezTo>
                  <a:cubicBezTo>
                    <a:pt x="73" y="189"/>
                    <a:pt x="82" y="211"/>
                    <a:pt x="98" y="227"/>
                  </a:cubicBezTo>
                  <a:lnTo>
                    <a:pt x="52" y="284"/>
                  </a:lnTo>
                  <a:close/>
                </a:path>
              </a:pathLst>
            </a:custGeom>
            <a:solidFill>
              <a:srgbClr val="69848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4" name="Freeform 236"/>
            <p:cNvSpPr>
              <a:spLocks/>
            </p:cNvSpPr>
            <p:nvPr/>
          </p:nvSpPr>
          <p:spPr bwMode="auto">
            <a:xfrm>
              <a:off x="610" y="2415"/>
              <a:ext cx="32" cy="43"/>
            </a:xfrm>
            <a:custGeom>
              <a:avLst/>
              <a:gdLst/>
              <a:ahLst/>
              <a:cxnLst>
                <a:cxn ang="0">
                  <a:pos x="137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2"/>
                </a:cxn>
                <a:cxn ang="0">
                  <a:pos x="65" y="24"/>
                </a:cxn>
                <a:cxn ang="0">
                  <a:pos x="65" y="16"/>
                </a:cxn>
                <a:cxn ang="0">
                  <a:pos x="137" y="0"/>
                </a:cxn>
              </a:cxnLst>
              <a:rect l="0" t="0" r="r" b="b"/>
              <a:pathLst>
                <a:path w="138" h="184">
                  <a:moveTo>
                    <a:pt x="137" y="0"/>
                  </a:moveTo>
                  <a:cubicBezTo>
                    <a:pt x="138" y="8"/>
                    <a:pt x="138" y="16"/>
                    <a:pt x="138" y="24"/>
                  </a:cubicBezTo>
                  <a:cubicBezTo>
                    <a:pt x="138" y="101"/>
                    <a:pt x="85" y="166"/>
                    <a:pt x="13" y="184"/>
                  </a:cubicBezTo>
                  <a:lnTo>
                    <a:pt x="0" y="112"/>
                  </a:lnTo>
                  <a:cubicBezTo>
                    <a:pt x="38" y="100"/>
                    <a:pt x="65" y="65"/>
                    <a:pt x="65" y="24"/>
                  </a:cubicBezTo>
                  <a:cubicBezTo>
                    <a:pt x="65" y="21"/>
                    <a:pt x="65" y="18"/>
                    <a:pt x="65" y="16"/>
                  </a:cubicBezTo>
                  <a:lnTo>
                    <a:pt x="137" y="0"/>
                  </a:lnTo>
                  <a:close/>
                </a:path>
              </a:pathLst>
            </a:custGeom>
            <a:solidFill>
              <a:srgbClr val="53676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5" name="Freeform 237"/>
            <p:cNvSpPr>
              <a:spLocks/>
            </p:cNvSpPr>
            <p:nvPr/>
          </p:nvSpPr>
          <p:spPr bwMode="auto">
            <a:xfrm>
              <a:off x="582" y="2439"/>
              <a:ext cx="26" cy="20"/>
            </a:xfrm>
            <a:custGeom>
              <a:avLst/>
              <a:gdLst/>
              <a:ahLst/>
              <a:cxnLst>
                <a:cxn ang="0">
                  <a:pos x="113" y="87"/>
                </a:cxn>
                <a:cxn ang="0">
                  <a:pos x="96" y="88"/>
                </a:cxn>
                <a:cxn ang="0">
                  <a:pos x="0" y="57"/>
                </a:cxn>
                <a:cxn ang="0">
                  <a:pos x="46" y="0"/>
                </a:cxn>
                <a:cxn ang="0">
                  <a:pos x="96" y="15"/>
                </a:cxn>
                <a:cxn ang="0">
                  <a:pos x="101" y="15"/>
                </a:cxn>
                <a:cxn ang="0">
                  <a:pos x="113" y="87"/>
                </a:cxn>
              </a:cxnLst>
              <a:rect l="0" t="0" r="r" b="b"/>
              <a:pathLst>
                <a:path w="113" h="88">
                  <a:moveTo>
                    <a:pt x="113" y="87"/>
                  </a:moveTo>
                  <a:cubicBezTo>
                    <a:pt x="108" y="88"/>
                    <a:pt x="102" y="88"/>
                    <a:pt x="96" y="88"/>
                  </a:cubicBezTo>
                  <a:cubicBezTo>
                    <a:pt x="60" y="88"/>
                    <a:pt x="27" y="76"/>
                    <a:pt x="0" y="57"/>
                  </a:cubicBezTo>
                  <a:lnTo>
                    <a:pt x="46" y="0"/>
                  </a:lnTo>
                  <a:cubicBezTo>
                    <a:pt x="60" y="9"/>
                    <a:pt x="77" y="15"/>
                    <a:pt x="96" y="15"/>
                  </a:cubicBezTo>
                  <a:cubicBezTo>
                    <a:pt x="97" y="15"/>
                    <a:pt x="99" y="15"/>
                    <a:pt x="101" y="15"/>
                  </a:cubicBezTo>
                  <a:lnTo>
                    <a:pt x="113" y="87"/>
                  </a:lnTo>
                  <a:close/>
                </a:path>
              </a:pathLst>
            </a:custGeom>
            <a:solidFill>
              <a:srgbClr val="4D838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6" name="Freeform 238"/>
            <p:cNvSpPr>
              <a:spLocks/>
            </p:cNvSpPr>
            <p:nvPr/>
          </p:nvSpPr>
          <p:spPr bwMode="auto">
            <a:xfrm>
              <a:off x="606" y="2382"/>
              <a:ext cx="34" cy="32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76" y="134"/>
                </a:cxn>
                <a:cxn ang="0">
                  <a:pos x="148" y="119"/>
                </a:cxn>
                <a:cxn ang="0">
                  <a:pos x="0" y="0"/>
                </a:cxn>
                <a:cxn ang="0">
                  <a:pos x="0" y="73"/>
                </a:cxn>
              </a:cxnLst>
              <a:rect l="0" t="0" r="r" b="b"/>
              <a:pathLst>
                <a:path w="148" h="134">
                  <a:moveTo>
                    <a:pt x="0" y="73"/>
                  </a:moveTo>
                  <a:cubicBezTo>
                    <a:pt x="36" y="77"/>
                    <a:pt x="65" y="102"/>
                    <a:pt x="76" y="134"/>
                  </a:cubicBezTo>
                  <a:lnTo>
                    <a:pt x="148" y="119"/>
                  </a:lnTo>
                  <a:cubicBezTo>
                    <a:pt x="129" y="53"/>
                    <a:pt x="71" y="4"/>
                    <a:pt x="0" y="0"/>
                  </a:cubicBezTo>
                  <a:lnTo>
                    <a:pt x="0" y="73"/>
                  </a:lnTo>
                  <a:close/>
                </a:path>
              </a:pathLst>
            </a:custGeom>
            <a:solidFill>
              <a:srgbClr val="4FA09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7" name="Rectangle 239"/>
            <p:cNvSpPr>
              <a:spLocks noChangeArrowheads="1"/>
            </p:cNvSpPr>
            <p:nvPr/>
          </p:nvSpPr>
          <p:spPr bwMode="auto">
            <a:xfrm>
              <a:off x="357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8" name="Rectangle 240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9" name="Rectangle 241"/>
            <p:cNvSpPr>
              <a:spLocks noChangeArrowheads="1"/>
            </p:cNvSpPr>
            <p:nvPr/>
          </p:nvSpPr>
          <p:spPr bwMode="auto">
            <a:xfrm>
              <a:off x="407" y="2333"/>
              <a:ext cx="12" cy="126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0" name="Rectangle 242"/>
            <p:cNvSpPr>
              <a:spLocks noChangeArrowheads="1"/>
            </p:cNvSpPr>
            <p:nvPr/>
          </p:nvSpPr>
          <p:spPr bwMode="auto">
            <a:xfrm>
              <a:off x="431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1" name="Rectangle 243"/>
            <p:cNvSpPr>
              <a:spLocks noChangeArrowheads="1"/>
            </p:cNvSpPr>
            <p:nvPr/>
          </p:nvSpPr>
          <p:spPr bwMode="auto">
            <a:xfrm>
              <a:off x="456" y="2346"/>
              <a:ext cx="12" cy="113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2" name="Rectangle 244"/>
            <p:cNvSpPr>
              <a:spLocks noChangeArrowheads="1"/>
            </p:cNvSpPr>
            <p:nvPr/>
          </p:nvSpPr>
          <p:spPr bwMode="auto">
            <a:xfrm>
              <a:off x="481" y="2332"/>
              <a:ext cx="12" cy="127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3" name="Rectangle 245"/>
            <p:cNvSpPr>
              <a:spLocks noChangeArrowheads="1"/>
            </p:cNvSpPr>
            <p:nvPr/>
          </p:nvSpPr>
          <p:spPr bwMode="auto">
            <a:xfrm>
              <a:off x="505" y="2280"/>
              <a:ext cx="13" cy="179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4" name="Rectangle 246"/>
            <p:cNvSpPr>
              <a:spLocks noChangeArrowheads="1"/>
            </p:cNvSpPr>
            <p:nvPr/>
          </p:nvSpPr>
          <p:spPr bwMode="auto">
            <a:xfrm>
              <a:off x="530" y="2338"/>
              <a:ext cx="12" cy="121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5" name="Rectangle 247"/>
            <p:cNvSpPr>
              <a:spLocks noChangeArrowheads="1"/>
            </p:cNvSpPr>
            <p:nvPr/>
          </p:nvSpPr>
          <p:spPr bwMode="auto">
            <a:xfrm>
              <a:off x="357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6" name="Rectangle 248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7" name="Rectangle 249"/>
            <p:cNvSpPr>
              <a:spLocks noChangeArrowheads="1"/>
            </p:cNvSpPr>
            <p:nvPr/>
          </p:nvSpPr>
          <p:spPr bwMode="auto">
            <a:xfrm>
              <a:off x="407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8" name="Rectangle 250"/>
            <p:cNvSpPr>
              <a:spLocks noChangeArrowheads="1"/>
            </p:cNvSpPr>
            <p:nvPr/>
          </p:nvSpPr>
          <p:spPr bwMode="auto">
            <a:xfrm>
              <a:off x="431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9" name="Rectangle 251"/>
            <p:cNvSpPr>
              <a:spLocks noChangeArrowheads="1"/>
            </p:cNvSpPr>
            <p:nvPr/>
          </p:nvSpPr>
          <p:spPr bwMode="auto">
            <a:xfrm>
              <a:off x="456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0" name="Rectangle 252"/>
            <p:cNvSpPr>
              <a:spLocks noChangeArrowheads="1"/>
            </p:cNvSpPr>
            <p:nvPr/>
          </p:nvSpPr>
          <p:spPr bwMode="auto">
            <a:xfrm>
              <a:off x="481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1" name="Rectangle 253"/>
            <p:cNvSpPr>
              <a:spLocks noChangeArrowheads="1"/>
            </p:cNvSpPr>
            <p:nvPr/>
          </p:nvSpPr>
          <p:spPr bwMode="auto">
            <a:xfrm>
              <a:off x="505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2" name="Rectangle 254"/>
            <p:cNvSpPr>
              <a:spLocks noChangeArrowheads="1"/>
            </p:cNvSpPr>
            <p:nvPr/>
          </p:nvSpPr>
          <p:spPr bwMode="auto">
            <a:xfrm>
              <a:off x="530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3" name="Freeform 255"/>
            <p:cNvSpPr>
              <a:spLocks/>
            </p:cNvSpPr>
            <p:nvPr/>
          </p:nvSpPr>
          <p:spPr bwMode="auto">
            <a:xfrm>
              <a:off x="97" y="2341"/>
              <a:ext cx="274" cy="331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0"/>
                </a:cxn>
                <a:cxn ang="0">
                  <a:pos x="1187" y="1341"/>
                </a:cxn>
                <a:cxn ang="0">
                  <a:pos x="1107" y="1421"/>
                </a:cxn>
                <a:cxn ang="0">
                  <a:pos x="80" y="1421"/>
                </a:cxn>
                <a:cxn ang="0">
                  <a:pos x="0" y="1341"/>
                </a:cxn>
                <a:cxn ang="0">
                  <a:pos x="0" y="80"/>
                </a:cxn>
                <a:cxn ang="0">
                  <a:pos x="80" y="0"/>
                </a:cxn>
              </a:cxnLst>
              <a:rect l="0" t="0" r="r" b="b"/>
              <a:pathLst>
                <a:path w="1187" h="1421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0"/>
                  </a:cubicBezTo>
                  <a:lnTo>
                    <a:pt x="1187" y="1341"/>
                  </a:lnTo>
                  <a:cubicBezTo>
                    <a:pt x="1187" y="1385"/>
                    <a:pt x="1151" y="1421"/>
                    <a:pt x="1107" y="1421"/>
                  </a:cubicBezTo>
                  <a:lnTo>
                    <a:pt x="80" y="1421"/>
                  </a:lnTo>
                  <a:cubicBezTo>
                    <a:pt x="36" y="1421"/>
                    <a:pt x="0" y="1385"/>
                    <a:pt x="0" y="1341"/>
                  </a:cubicBezTo>
                  <a:lnTo>
                    <a:pt x="0" y="80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4" name="Freeform 256"/>
            <p:cNvSpPr>
              <a:spLocks/>
            </p:cNvSpPr>
            <p:nvPr/>
          </p:nvSpPr>
          <p:spPr bwMode="auto">
            <a:xfrm>
              <a:off x="97" y="2353"/>
              <a:ext cx="274" cy="93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1"/>
                </a:cxn>
                <a:cxn ang="0">
                  <a:pos x="1187" y="399"/>
                </a:cxn>
                <a:cxn ang="0">
                  <a:pos x="0" y="399"/>
                </a:cxn>
                <a:cxn ang="0">
                  <a:pos x="0" y="81"/>
                </a:cxn>
                <a:cxn ang="0">
                  <a:pos x="80" y="0"/>
                </a:cxn>
              </a:cxnLst>
              <a:rect l="0" t="0" r="r" b="b"/>
              <a:pathLst>
                <a:path w="1187" h="399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1"/>
                  </a:cubicBezTo>
                  <a:lnTo>
                    <a:pt x="1187" y="399"/>
                  </a:lnTo>
                  <a:lnTo>
                    <a:pt x="0" y="399"/>
                  </a:lnTo>
                  <a:lnTo>
                    <a:pt x="0" y="81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7681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5" name="Rectangle 257"/>
            <p:cNvSpPr>
              <a:spLocks noChangeArrowheads="1"/>
            </p:cNvSpPr>
            <p:nvPr/>
          </p:nvSpPr>
          <p:spPr bwMode="auto">
            <a:xfrm>
              <a:off x="122" y="2373"/>
              <a:ext cx="221" cy="58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6" name="Rectangle 258"/>
            <p:cNvSpPr>
              <a:spLocks noChangeArrowheads="1"/>
            </p:cNvSpPr>
            <p:nvPr/>
          </p:nvSpPr>
          <p:spPr bwMode="auto">
            <a:xfrm>
              <a:off x="132" y="2381"/>
              <a:ext cx="211" cy="50"/>
            </a:xfrm>
            <a:prstGeom prst="rect">
              <a:avLst/>
            </a:prstGeom>
            <a:solidFill>
              <a:srgbClr val="35EC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7" name="Freeform 259"/>
            <p:cNvSpPr>
              <a:spLocks/>
            </p:cNvSpPr>
            <p:nvPr/>
          </p:nvSpPr>
          <p:spPr bwMode="auto">
            <a:xfrm>
              <a:off x="120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8" name="Rectangle 260"/>
            <p:cNvSpPr>
              <a:spLocks noChangeArrowheads="1"/>
            </p:cNvSpPr>
            <p:nvPr/>
          </p:nvSpPr>
          <p:spPr bwMode="auto">
            <a:xfrm>
              <a:off x="122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9" name="Freeform 261"/>
            <p:cNvSpPr>
              <a:spLocks noEditPoints="1"/>
            </p:cNvSpPr>
            <p:nvPr/>
          </p:nvSpPr>
          <p:spPr bwMode="auto">
            <a:xfrm>
              <a:off x="120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0" name="Rectangle 262"/>
            <p:cNvSpPr>
              <a:spLocks noChangeArrowheads="1"/>
            </p:cNvSpPr>
            <p:nvPr/>
          </p:nvSpPr>
          <p:spPr bwMode="auto">
            <a:xfrm>
              <a:off x="122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1" name="Freeform 263"/>
            <p:cNvSpPr>
              <a:spLocks noEditPoints="1"/>
            </p:cNvSpPr>
            <p:nvPr/>
          </p:nvSpPr>
          <p:spPr bwMode="auto">
            <a:xfrm>
              <a:off x="120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2" name="Rectangle 264"/>
            <p:cNvSpPr>
              <a:spLocks noChangeArrowheads="1"/>
            </p:cNvSpPr>
            <p:nvPr/>
          </p:nvSpPr>
          <p:spPr bwMode="auto">
            <a:xfrm>
              <a:off x="122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3" name="Freeform 265"/>
            <p:cNvSpPr>
              <a:spLocks noEditPoints="1"/>
            </p:cNvSpPr>
            <p:nvPr/>
          </p:nvSpPr>
          <p:spPr bwMode="auto">
            <a:xfrm>
              <a:off x="120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4" name="Freeform 266"/>
            <p:cNvSpPr>
              <a:spLocks/>
            </p:cNvSpPr>
            <p:nvPr/>
          </p:nvSpPr>
          <p:spPr bwMode="auto">
            <a:xfrm>
              <a:off x="179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5" name="Rectangle 267"/>
            <p:cNvSpPr>
              <a:spLocks noChangeArrowheads="1"/>
            </p:cNvSpPr>
            <p:nvPr/>
          </p:nvSpPr>
          <p:spPr bwMode="auto">
            <a:xfrm>
              <a:off x="181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6" name="Freeform 268"/>
            <p:cNvSpPr>
              <a:spLocks noEditPoints="1"/>
            </p:cNvSpPr>
            <p:nvPr/>
          </p:nvSpPr>
          <p:spPr bwMode="auto">
            <a:xfrm>
              <a:off x="179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7" name="Rectangle 269"/>
            <p:cNvSpPr>
              <a:spLocks noChangeArrowheads="1"/>
            </p:cNvSpPr>
            <p:nvPr/>
          </p:nvSpPr>
          <p:spPr bwMode="auto">
            <a:xfrm>
              <a:off x="181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8" name="Freeform 270"/>
            <p:cNvSpPr>
              <a:spLocks noEditPoints="1"/>
            </p:cNvSpPr>
            <p:nvPr/>
          </p:nvSpPr>
          <p:spPr bwMode="auto">
            <a:xfrm>
              <a:off x="179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9" name="Rectangle 271"/>
            <p:cNvSpPr>
              <a:spLocks noChangeArrowheads="1"/>
            </p:cNvSpPr>
            <p:nvPr/>
          </p:nvSpPr>
          <p:spPr bwMode="auto">
            <a:xfrm>
              <a:off x="181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0" name="Freeform 272"/>
            <p:cNvSpPr>
              <a:spLocks noEditPoints="1"/>
            </p:cNvSpPr>
            <p:nvPr/>
          </p:nvSpPr>
          <p:spPr bwMode="auto">
            <a:xfrm>
              <a:off x="179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1" name="Rectangle 273"/>
            <p:cNvSpPr>
              <a:spLocks noChangeArrowheads="1"/>
            </p:cNvSpPr>
            <p:nvPr/>
          </p:nvSpPr>
          <p:spPr bwMode="auto">
            <a:xfrm>
              <a:off x="239" y="2469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2" name="Freeform 274"/>
            <p:cNvSpPr>
              <a:spLocks noEditPoints="1"/>
            </p:cNvSpPr>
            <p:nvPr/>
          </p:nvSpPr>
          <p:spPr bwMode="auto">
            <a:xfrm>
              <a:off x="237" y="2467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9"/>
                </a:cxn>
                <a:cxn ang="0">
                  <a:pos x="215" y="153"/>
                </a:cxn>
                <a:cxn ang="0">
                  <a:pos x="206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7" y="144"/>
                </a:cxn>
                <a:cxn ang="0">
                  <a:pos x="197" y="18"/>
                </a:cxn>
              </a:cxnLst>
              <a:rect l="0" t="0" r="r" b="b"/>
              <a:pathLst>
                <a:path w="215" h="162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9"/>
                  </a:lnTo>
                  <a:lnTo>
                    <a:pt x="215" y="153"/>
                  </a:lnTo>
                  <a:cubicBezTo>
                    <a:pt x="215" y="158"/>
                    <a:pt x="211" y="162"/>
                    <a:pt x="206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7" y="144"/>
                  </a:lnTo>
                  <a:lnTo>
                    <a:pt x="197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3" name="Rectangle 275"/>
            <p:cNvSpPr>
              <a:spLocks noChangeArrowheads="1"/>
            </p:cNvSpPr>
            <p:nvPr/>
          </p:nvSpPr>
          <p:spPr bwMode="auto">
            <a:xfrm>
              <a:off x="239" y="2516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4" name="Freeform 276"/>
            <p:cNvSpPr>
              <a:spLocks noEditPoints="1"/>
            </p:cNvSpPr>
            <p:nvPr/>
          </p:nvSpPr>
          <p:spPr bwMode="auto">
            <a:xfrm>
              <a:off x="237" y="2514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10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5"/>
                    <a:pt x="215" y="10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5" name="Rectangle 277"/>
            <p:cNvSpPr>
              <a:spLocks noChangeArrowheads="1"/>
            </p:cNvSpPr>
            <p:nvPr/>
          </p:nvSpPr>
          <p:spPr bwMode="auto">
            <a:xfrm>
              <a:off x="239" y="2563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6" name="Freeform 278"/>
            <p:cNvSpPr>
              <a:spLocks noEditPoints="1"/>
            </p:cNvSpPr>
            <p:nvPr/>
          </p:nvSpPr>
          <p:spPr bwMode="auto">
            <a:xfrm>
              <a:off x="237" y="2561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7" name="Rectangle 279"/>
            <p:cNvSpPr>
              <a:spLocks noChangeArrowheads="1"/>
            </p:cNvSpPr>
            <p:nvPr/>
          </p:nvSpPr>
          <p:spPr bwMode="auto">
            <a:xfrm>
              <a:off x="298" y="2469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8" name="Freeform 280"/>
            <p:cNvSpPr>
              <a:spLocks noEditPoints="1"/>
            </p:cNvSpPr>
            <p:nvPr/>
          </p:nvSpPr>
          <p:spPr bwMode="auto">
            <a:xfrm>
              <a:off x="296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9" name="Rectangle 281"/>
            <p:cNvSpPr>
              <a:spLocks noChangeArrowheads="1"/>
            </p:cNvSpPr>
            <p:nvPr/>
          </p:nvSpPr>
          <p:spPr bwMode="auto">
            <a:xfrm>
              <a:off x="298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0" name="Freeform 282"/>
            <p:cNvSpPr>
              <a:spLocks noEditPoints="1"/>
            </p:cNvSpPr>
            <p:nvPr/>
          </p:nvSpPr>
          <p:spPr bwMode="auto">
            <a:xfrm>
              <a:off x="296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1" name="Rectangle 283"/>
            <p:cNvSpPr>
              <a:spLocks noChangeArrowheads="1"/>
            </p:cNvSpPr>
            <p:nvPr/>
          </p:nvSpPr>
          <p:spPr bwMode="auto">
            <a:xfrm>
              <a:off x="298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2" name="Freeform 284"/>
            <p:cNvSpPr>
              <a:spLocks noEditPoints="1"/>
            </p:cNvSpPr>
            <p:nvPr/>
          </p:nvSpPr>
          <p:spPr bwMode="auto">
            <a:xfrm>
              <a:off x="296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3" name="Freeform 285"/>
            <p:cNvSpPr>
              <a:spLocks/>
            </p:cNvSpPr>
            <p:nvPr/>
          </p:nvSpPr>
          <p:spPr bwMode="auto">
            <a:xfrm>
              <a:off x="237" y="2608"/>
              <a:ext cx="108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460" y="0"/>
                </a:cxn>
                <a:cxn ang="0">
                  <a:pos x="469" y="9"/>
                </a:cxn>
                <a:cxn ang="0">
                  <a:pos x="469" y="10"/>
                </a:cxn>
                <a:cxn ang="0">
                  <a:pos x="469" y="154"/>
                </a:cxn>
                <a:cxn ang="0">
                  <a:pos x="460" y="163"/>
                </a:cxn>
                <a:cxn ang="0">
                  <a:pos x="460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469" h="163">
                  <a:moveTo>
                    <a:pt x="9" y="0"/>
                  </a:moveTo>
                  <a:lnTo>
                    <a:pt x="10" y="0"/>
                  </a:lnTo>
                  <a:lnTo>
                    <a:pt x="460" y="0"/>
                  </a:lnTo>
                  <a:cubicBezTo>
                    <a:pt x="465" y="0"/>
                    <a:pt x="469" y="4"/>
                    <a:pt x="469" y="9"/>
                  </a:cubicBezTo>
                  <a:lnTo>
                    <a:pt x="469" y="10"/>
                  </a:lnTo>
                  <a:lnTo>
                    <a:pt x="469" y="154"/>
                  </a:lnTo>
                  <a:cubicBezTo>
                    <a:pt x="469" y="159"/>
                    <a:pt x="465" y="163"/>
                    <a:pt x="460" y="163"/>
                  </a:cubicBezTo>
                  <a:lnTo>
                    <a:pt x="460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4" name="Rectangle 286"/>
            <p:cNvSpPr>
              <a:spLocks noChangeArrowheads="1"/>
            </p:cNvSpPr>
            <p:nvPr/>
          </p:nvSpPr>
          <p:spPr bwMode="auto">
            <a:xfrm>
              <a:off x="616" y="2555"/>
              <a:ext cx="279" cy="88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5" name="Rectangle 287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00A9E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6" name="Rectangle 288"/>
            <p:cNvSpPr>
              <a:spLocks noChangeArrowheads="1"/>
            </p:cNvSpPr>
            <p:nvPr/>
          </p:nvSpPr>
          <p:spPr bwMode="auto">
            <a:xfrm>
              <a:off x="638" y="2643"/>
              <a:ext cx="36" cy="2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7" name="Rectangle 289"/>
            <p:cNvSpPr>
              <a:spLocks noChangeArrowheads="1"/>
            </p:cNvSpPr>
            <p:nvPr/>
          </p:nvSpPr>
          <p:spPr bwMode="auto">
            <a:xfrm>
              <a:off x="702" y="2531"/>
              <a:ext cx="107" cy="24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8" name="Rectangle 290"/>
            <p:cNvSpPr>
              <a:spLocks noChangeArrowheads="1"/>
            </p:cNvSpPr>
            <p:nvPr/>
          </p:nvSpPr>
          <p:spPr bwMode="auto">
            <a:xfrm>
              <a:off x="727" y="2492"/>
              <a:ext cx="58" cy="3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9" name="Freeform 291"/>
            <p:cNvSpPr>
              <a:spLocks/>
            </p:cNvSpPr>
            <p:nvPr/>
          </p:nvSpPr>
          <p:spPr bwMode="auto">
            <a:xfrm>
              <a:off x="707" y="2164"/>
              <a:ext cx="97" cy="271"/>
            </a:xfrm>
            <a:custGeom>
              <a:avLst/>
              <a:gdLst/>
              <a:ahLst/>
              <a:cxnLst>
                <a:cxn ang="0">
                  <a:pos x="419" y="0"/>
                </a:cxn>
                <a:cxn ang="0">
                  <a:pos x="419" y="952"/>
                </a:cxn>
                <a:cxn ang="0">
                  <a:pos x="357" y="1100"/>
                </a:cxn>
                <a:cxn ang="0">
                  <a:pos x="357" y="1100"/>
                </a:cxn>
                <a:cxn ang="0">
                  <a:pos x="209" y="1162"/>
                </a:cxn>
                <a:cxn ang="0">
                  <a:pos x="209" y="1162"/>
                </a:cxn>
                <a:cxn ang="0">
                  <a:pos x="61" y="1100"/>
                </a:cxn>
                <a:cxn ang="0">
                  <a:pos x="61" y="1100"/>
                </a:cxn>
                <a:cxn ang="0">
                  <a:pos x="0" y="952"/>
                </a:cxn>
                <a:cxn ang="0">
                  <a:pos x="0" y="0"/>
                </a:cxn>
                <a:cxn ang="0">
                  <a:pos x="86" y="0"/>
                </a:cxn>
                <a:cxn ang="0">
                  <a:pos x="86" y="952"/>
                </a:cxn>
                <a:cxn ang="0">
                  <a:pos x="122" y="1039"/>
                </a:cxn>
                <a:cxn ang="0">
                  <a:pos x="122" y="1039"/>
                </a:cxn>
                <a:cxn ang="0">
                  <a:pos x="209" y="1075"/>
                </a:cxn>
                <a:cxn ang="0">
                  <a:pos x="209" y="1075"/>
                </a:cxn>
                <a:cxn ang="0">
                  <a:pos x="296" y="1039"/>
                </a:cxn>
                <a:cxn ang="0">
                  <a:pos x="296" y="1039"/>
                </a:cxn>
                <a:cxn ang="0">
                  <a:pos x="333" y="952"/>
                </a:cxn>
                <a:cxn ang="0">
                  <a:pos x="333" y="0"/>
                </a:cxn>
                <a:cxn ang="0">
                  <a:pos x="419" y="0"/>
                </a:cxn>
              </a:cxnLst>
              <a:rect l="0" t="0" r="r" b="b"/>
              <a:pathLst>
                <a:path w="419" h="1162">
                  <a:moveTo>
                    <a:pt x="419" y="0"/>
                  </a:moveTo>
                  <a:lnTo>
                    <a:pt x="419" y="952"/>
                  </a:lnTo>
                  <a:cubicBezTo>
                    <a:pt x="419" y="1009"/>
                    <a:pt x="395" y="1062"/>
                    <a:pt x="357" y="1100"/>
                  </a:cubicBezTo>
                  <a:lnTo>
                    <a:pt x="357" y="1100"/>
                  </a:lnTo>
                  <a:cubicBezTo>
                    <a:pt x="319" y="1138"/>
                    <a:pt x="267" y="1162"/>
                    <a:pt x="209" y="1162"/>
                  </a:cubicBezTo>
                  <a:lnTo>
                    <a:pt x="209" y="1162"/>
                  </a:lnTo>
                  <a:cubicBezTo>
                    <a:pt x="152" y="1162"/>
                    <a:pt x="99" y="1138"/>
                    <a:pt x="61" y="1100"/>
                  </a:cubicBezTo>
                  <a:lnTo>
                    <a:pt x="61" y="1100"/>
                  </a:lnTo>
                  <a:cubicBezTo>
                    <a:pt x="23" y="1062"/>
                    <a:pt x="0" y="1009"/>
                    <a:pt x="0" y="952"/>
                  </a:cubicBezTo>
                  <a:lnTo>
                    <a:pt x="0" y="0"/>
                  </a:lnTo>
                  <a:lnTo>
                    <a:pt x="86" y="0"/>
                  </a:lnTo>
                  <a:lnTo>
                    <a:pt x="86" y="952"/>
                  </a:lnTo>
                  <a:cubicBezTo>
                    <a:pt x="86" y="986"/>
                    <a:pt x="100" y="1017"/>
                    <a:pt x="122" y="1039"/>
                  </a:cubicBezTo>
                  <a:lnTo>
                    <a:pt x="122" y="1039"/>
                  </a:lnTo>
                  <a:cubicBezTo>
                    <a:pt x="145" y="1061"/>
                    <a:pt x="175" y="1075"/>
                    <a:pt x="209" y="1075"/>
                  </a:cubicBezTo>
                  <a:lnTo>
                    <a:pt x="209" y="1075"/>
                  </a:lnTo>
                  <a:cubicBezTo>
                    <a:pt x="243" y="1075"/>
                    <a:pt x="274" y="1061"/>
                    <a:pt x="296" y="1039"/>
                  </a:cubicBezTo>
                  <a:lnTo>
                    <a:pt x="296" y="1039"/>
                  </a:lnTo>
                  <a:cubicBezTo>
                    <a:pt x="319" y="1017"/>
                    <a:pt x="333" y="986"/>
                    <a:pt x="333" y="952"/>
                  </a:cubicBezTo>
                  <a:lnTo>
                    <a:pt x="333" y="0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0" name="Rectangle 292"/>
            <p:cNvSpPr>
              <a:spLocks noChangeArrowheads="1"/>
            </p:cNvSpPr>
            <p:nvPr/>
          </p:nvSpPr>
          <p:spPr bwMode="auto">
            <a:xfrm>
              <a:off x="746" y="2424"/>
              <a:ext cx="20" cy="68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1" name="Rectangle 293"/>
            <p:cNvSpPr>
              <a:spLocks noChangeArrowheads="1"/>
            </p:cNvSpPr>
            <p:nvPr/>
          </p:nvSpPr>
          <p:spPr bwMode="auto">
            <a:xfrm>
              <a:off x="756" y="2555"/>
              <a:ext cx="139" cy="88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2" name="Rectangle 294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3" name="Rectangle 295"/>
            <p:cNvSpPr>
              <a:spLocks noChangeArrowheads="1"/>
            </p:cNvSpPr>
            <p:nvPr/>
          </p:nvSpPr>
          <p:spPr bwMode="auto">
            <a:xfrm>
              <a:off x="756" y="2531"/>
              <a:ext cx="53" cy="24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4" name="Rectangle 296"/>
            <p:cNvSpPr>
              <a:spLocks noChangeArrowheads="1"/>
            </p:cNvSpPr>
            <p:nvPr/>
          </p:nvSpPr>
          <p:spPr bwMode="auto">
            <a:xfrm>
              <a:off x="756" y="2492"/>
              <a:ext cx="29" cy="3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5" name="Freeform 297"/>
            <p:cNvSpPr>
              <a:spLocks/>
            </p:cNvSpPr>
            <p:nvPr/>
          </p:nvSpPr>
          <p:spPr bwMode="auto">
            <a:xfrm>
              <a:off x="756" y="2164"/>
              <a:ext cx="48" cy="271"/>
            </a:xfrm>
            <a:custGeom>
              <a:avLst/>
              <a:gdLst/>
              <a:ahLst/>
              <a:cxnLst>
                <a:cxn ang="0">
                  <a:pos x="210" y="0"/>
                </a:cxn>
                <a:cxn ang="0">
                  <a:pos x="210" y="952"/>
                </a:cxn>
                <a:cxn ang="0">
                  <a:pos x="148" y="1100"/>
                </a:cxn>
                <a:cxn ang="0">
                  <a:pos x="148" y="1100"/>
                </a:cxn>
                <a:cxn ang="0">
                  <a:pos x="0" y="1162"/>
                </a:cxn>
                <a:cxn ang="0">
                  <a:pos x="0" y="1161"/>
                </a:cxn>
                <a:cxn ang="0">
                  <a:pos x="0" y="1075"/>
                </a:cxn>
                <a:cxn ang="0">
                  <a:pos x="0" y="1075"/>
                </a:cxn>
                <a:cxn ang="0">
                  <a:pos x="87" y="1039"/>
                </a:cxn>
                <a:cxn ang="0">
                  <a:pos x="88" y="1039"/>
                </a:cxn>
                <a:cxn ang="0">
                  <a:pos x="124" y="952"/>
                </a:cxn>
                <a:cxn ang="0">
                  <a:pos x="124" y="0"/>
                </a:cxn>
                <a:cxn ang="0">
                  <a:pos x="210" y="0"/>
                </a:cxn>
              </a:cxnLst>
              <a:rect l="0" t="0" r="r" b="b"/>
              <a:pathLst>
                <a:path w="210" h="1162">
                  <a:moveTo>
                    <a:pt x="210" y="0"/>
                  </a:moveTo>
                  <a:lnTo>
                    <a:pt x="210" y="952"/>
                  </a:lnTo>
                  <a:cubicBezTo>
                    <a:pt x="210" y="1009"/>
                    <a:pt x="186" y="1062"/>
                    <a:pt x="148" y="1100"/>
                  </a:cubicBezTo>
                  <a:lnTo>
                    <a:pt x="148" y="1100"/>
                  </a:lnTo>
                  <a:cubicBezTo>
                    <a:pt x="110" y="1138"/>
                    <a:pt x="58" y="1162"/>
                    <a:pt x="0" y="1162"/>
                  </a:cubicBezTo>
                  <a:lnTo>
                    <a:pt x="0" y="1161"/>
                  </a:lnTo>
                  <a:lnTo>
                    <a:pt x="0" y="1075"/>
                  </a:lnTo>
                  <a:lnTo>
                    <a:pt x="0" y="1075"/>
                  </a:lnTo>
                  <a:cubicBezTo>
                    <a:pt x="34" y="1075"/>
                    <a:pt x="65" y="1061"/>
                    <a:pt x="87" y="1039"/>
                  </a:cubicBezTo>
                  <a:lnTo>
                    <a:pt x="88" y="1039"/>
                  </a:lnTo>
                  <a:cubicBezTo>
                    <a:pt x="110" y="1017"/>
                    <a:pt x="124" y="986"/>
                    <a:pt x="124" y="952"/>
                  </a:cubicBezTo>
                  <a:lnTo>
                    <a:pt x="124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6" name="Rectangle 298"/>
            <p:cNvSpPr>
              <a:spLocks noChangeArrowheads="1"/>
            </p:cNvSpPr>
            <p:nvPr/>
          </p:nvSpPr>
          <p:spPr bwMode="auto">
            <a:xfrm>
              <a:off x="756" y="2424"/>
              <a:ext cx="10" cy="68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517" name="Рисунок 516" descr="004.em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0279" y="4757655"/>
            <a:ext cx="1311014" cy="783892"/>
          </a:xfrm>
          <a:prstGeom prst="rect">
            <a:avLst/>
          </a:prstGeom>
        </p:spPr>
      </p:pic>
      <p:pic>
        <p:nvPicPr>
          <p:cNvPr id="320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287729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2AD04C8F-AB05-4497-BFF1-6646C2966162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5626" name="Слайд think-cell" r:id="rId4" imgW="360" imgH="360" progId="">
              <p:embed/>
            </p:oleObj>
          </a:graphicData>
        </a:graphic>
      </p:graphicFrame>
      <p:sp>
        <p:nvSpPr>
          <p:cNvPr id="31" name="Rectangle 2"/>
          <p:cNvSpPr>
            <a:spLocks noChangeArrowheads="1"/>
          </p:cNvSpPr>
          <p:nvPr/>
        </p:nvSpPr>
        <p:spPr bwMode="auto">
          <a:xfrm>
            <a:off x="-203640" y="-11486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2400">
              <a:solidFill>
                <a:srgbClr val="00206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558837" y="4858421"/>
            <a:ext cx="45163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charset="0"/>
              </a:rPr>
              <a:t>По рейтингу эффективности системы образования, РОССИЯ занимает 14 место в мире, из за значительного отставания по уровню грамотности учащихся средней школы и способности учащихся применять на практике полученные знания и навыки  (</a:t>
            </a:r>
            <a:r>
              <a:rPr lang="en-US" sz="1400" b="1" dirty="0">
                <a:solidFill>
                  <a:schemeClr val="bg1"/>
                </a:solidFill>
                <a:latin typeface="Arial" charset="0"/>
              </a:rPr>
              <a:t>PISA)</a:t>
            </a:r>
            <a:endParaRPr lang="ru-RU" sz="14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497323" y="470893"/>
            <a:ext cx="1012434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Международная оценка качества образова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Прямоугольник 93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3" y="6651117"/>
            <a:ext cx="70252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120" name="Прямоугольник 119"/>
          <p:cNvSpPr/>
          <p:nvPr/>
        </p:nvSpPr>
        <p:spPr>
          <a:xfrm>
            <a:off x="4810385" y="6613243"/>
            <a:ext cx="80772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десь и далее использованы результаты РФ в международных сравнительных исследованиях, рук. Г.С. Ковалё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49" name="TextBox 28"/>
          <p:cNvSpPr txBox="1">
            <a:spLocks noChangeArrowheads="1"/>
          </p:cNvSpPr>
          <p:nvPr/>
        </p:nvSpPr>
        <p:spPr bwMode="auto">
          <a:xfrm>
            <a:off x="564991" y="1304121"/>
            <a:ext cx="1157754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/>
            <a:r>
              <a:rPr lang="ru-RU" altLang="ru-RU" sz="2000" b="1" dirty="0" smtClean="0">
                <a:solidFill>
                  <a:srgbClr val="002060"/>
                </a:solidFill>
              </a:rPr>
              <a:t>Российские школьники </a:t>
            </a:r>
            <a:r>
              <a:rPr lang="ru-RU" altLang="ru-RU" sz="2000" b="1" dirty="0">
                <a:solidFill>
                  <a:srgbClr val="002060"/>
                </a:solidFill>
              </a:rPr>
              <a:t>обладают значительным объемом знаний, </a:t>
            </a:r>
            <a:r>
              <a:rPr lang="ru-RU" altLang="ru-RU" sz="2000" b="1" dirty="0" smtClean="0">
                <a:solidFill>
                  <a:srgbClr val="002060"/>
                </a:solidFill>
              </a:rPr>
              <a:t>но не </a:t>
            </a:r>
            <a:r>
              <a:rPr lang="ru-RU" altLang="ru-RU" sz="2000" b="1" dirty="0">
                <a:solidFill>
                  <a:srgbClr val="002060"/>
                </a:solidFill>
              </a:rPr>
              <a:t>умеют </a:t>
            </a:r>
            <a:r>
              <a:rPr lang="ru-RU" altLang="ru-RU" sz="2000" b="1" dirty="0" smtClean="0">
                <a:solidFill>
                  <a:srgbClr val="002060"/>
                </a:solidFill>
              </a:rPr>
              <a:t>грамотно пользоваться </a:t>
            </a:r>
            <a:r>
              <a:rPr lang="ru-RU" altLang="ru-RU" sz="2000" b="1" dirty="0">
                <a:solidFill>
                  <a:srgbClr val="002060"/>
                </a:solidFill>
              </a:rPr>
              <a:t>этими </a:t>
            </a:r>
            <a:r>
              <a:rPr lang="ru-RU" altLang="ru-RU" sz="2000" b="1" dirty="0" smtClean="0">
                <a:solidFill>
                  <a:srgbClr val="002060"/>
                </a:solidFill>
              </a:rPr>
              <a:t>знаниями  </a:t>
            </a:r>
            <a:endParaRPr lang="ru-RU" altLang="ru-RU" sz="2000" b="1" dirty="0">
              <a:solidFill>
                <a:srgbClr val="002060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564991" y="2020557"/>
            <a:ext cx="10860736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российских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щихся в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следованиях 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RLS, TIMSS,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-2016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ы)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1" name="Группа 50"/>
          <p:cNvGrpSpPr/>
          <p:nvPr/>
        </p:nvGrpSpPr>
        <p:grpSpPr>
          <a:xfrm>
            <a:off x="1423023" y="2391013"/>
            <a:ext cx="9468028" cy="4194685"/>
            <a:chOff x="1546789" y="2279867"/>
            <a:chExt cx="9468028" cy="4194685"/>
          </a:xfrm>
        </p:grpSpPr>
        <p:pic>
          <p:nvPicPr>
            <p:cNvPr id="52" name="Рисунок 51"/>
            <p:cNvPicPr>
              <a:picLocks noChangeAspect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="" xmlns:a14="http://schemas.microsoft.com/office/drawing/2010/main">
                    <a14:imgLayer r:embed="rId8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546789" y="2302201"/>
              <a:ext cx="9468028" cy="4172351"/>
            </a:xfrm>
            <a:prstGeom prst="rect">
              <a:avLst/>
            </a:prstGeom>
          </p:spPr>
        </p:pic>
        <p:sp>
          <p:nvSpPr>
            <p:cNvPr id="53" name="TextBox 52"/>
            <p:cNvSpPr txBox="1"/>
            <p:nvPr/>
          </p:nvSpPr>
          <p:spPr>
            <a:xfrm>
              <a:off x="2042444" y="2521010"/>
              <a:ext cx="383093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7</a:t>
              </a:r>
              <a:endPara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2432614" y="2820113"/>
              <a:ext cx="383093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</a:t>
              </a:r>
              <a:endPara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2902633" y="3349952"/>
              <a:ext cx="44731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3</a:t>
              </a:r>
              <a:endPara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3349951" y="2714222"/>
              <a:ext cx="44731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endPara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3839999" y="3491890"/>
              <a:ext cx="44731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</a:t>
              </a:r>
              <a:endPara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515117" y="2464533"/>
              <a:ext cx="44731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</a:t>
              </a:r>
              <a:endPara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4962435" y="2714222"/>
              <a:ext cx="44731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7</a:t>
              </a:r>
              <a:endPara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5513857" y="3470123"/>
              <a:ext cx="44731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32</a:t>
              </a:r>
              <a:endPara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6057144" y="3189445"/>
              <a:ext cx="44731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</a:t>
              </a:r>
              <a:endPara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6834240" y="2279867"/>
              <a:ext cx="44731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endPara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7423359" y="3324316"/>
              <a:ext cx="44731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6</a:t>
              </a:r>
              <a:endPara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8437637" y="3131107"/>
              <a:ext cx="44731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</a:t>
              </a:r>
              <a:endPara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5" name="Группа 64"/>
            <p:cNvGrpSpPr/>
            <p:nvPr/>
          </p:nvGrpSpPr>
          <p:grpSpPr>
            <a:xfrm>
              <a:off x="9467849" y="3315773"/>
              <a:ext cx="1447800" cy="714038"/>
              <a:chOff x="9467849" y="3315773"/>
              <a:chExt cx="1447800" cy="714038"/>
            </a:xfrm>
          </p:grpSpPr>
          <p:sp>
            <p:nvSpPr>
              <p:cNvPr id="66" name="TextBox 65"/>
              <p:cNvSpPr txBox="1"/>
              <p:nvPr/>
            </p:nvSpPr>
            <p:spPr>
              <a:xfrm>
                <a:off x="9832363" y="3660479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1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67" name="Picture 2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467849" y="3315773"/>
                <a:ext cx="1204913" cy="1438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8" name="Picture 3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468338" y="3573065"/>
                <a:ext cx="1447311" cy="1348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71" name="Овал 70"/>
          <p:cNvSpPr/>
          <p:nvPr/>
        </p:nvSpPr>
        <p:spPr>
          <a:xfrm>
            <a:off x="2803465" y="3428733"/>
            <a:ext cx="447318" cy="30244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Овал 71"/>
          <p:cNvSpPr/>
          <p:nvPr/>
        </p:nvSpPr>
        <p:spPr>
          <a:xfrm>
            <a:off x="5414689" y="3563337"/>
            <a:ext cx="447318" cy="30244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Овал 72"/>
          <p:cNvSpPr/>
          <p:nvPr/>
        </p:nvSpPr>
        <p:spPr>
          <a:xfrm>
            <a:off x="7324191" y="3412656"/>
            <a:ext cx="447318" cy="30244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4" name="Прямая соединительная линия 7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193378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759511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2AD04C8F-AB05-4497-BFF1-6646C2966162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8862" name="Слайд think-cell" r:id="rId4" imgW="360" imgH="360" progId="">
              <p:embed/>
            </p:oleObj>
          </a:graphicData>
        </a:graphic>
      </p:graphicFrame>
      <p:sp>
        <p:nvSpPr>
          <p:cNvPr id="31" name="Rectangle 2"/>
          <p:cNvSpPr>
            <a:spLocks noChangeArrowheads="1"/>
          </p:cNvSpPr>
          <p:nvPr/>
        </p:nvSpPr>
        <p:spPr bwMode="auto">
          <a:xfrm>
            <a:off x="-203640" y="-11486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2400">
              <a:solidFill>
                <a:srgbClr val="00206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558837" y="4858421"/>
            <a:ext cx="45163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charset="0"/>
              </a:rPr>
              <a:t>По рейтингу эффективности системы образования, РОССИЯ занимает 14 место в мире, из за значительного отставания по уровню грамотности учащихся средней школы и способности учащихся применять на практике полученные знания и навыки  (</a:t>
            </a:r>
            <a:r>
              <a:rPr lang="en-US" sz="1400" b="1" dirty="0">
                <a:solidFill>
                  <a:schemeClr val="bg1"/>
                </a:solidFill>
                <a:latin typeface="Arial" charset="0"/>
              </a:rPr>
              <a:t>PISA)</a:t>
            </a:r>
            <a:endParaRPr lang="ru-RU" sz="14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497323" y="470893"/>
            <a:ext cx="1012434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Международная оценка качества образова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Прямоугольник 93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3" y="6651117"/>
            <a:ext cx="70252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120" name="Прямоугольник 119"/>
          <p:cNvSpPr/>
          <p:nvPr/>
        </p:nvSpPr>
        <p:spPr>
          <a:xfrm>
            <a:off x="4810385" y="6613243"/>
            <a:ext cx="80772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десь и далее использованы результаты РФ в международных сравнительных исследованиях, рук. Г.С. Ковалё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49" name="TextBox 28"/>
          <p:cNvSpPr txBox="1">
            <a:spLocks noChangeArrowheads="1"/>
          </p:cNvSpPr>
          <p:nvPr/>
        </p:nvSpPr>
        <p:spPr bwMode="auto">
          <a:xfrm>
            <a:off x="564991" y="1304121"/>
            <a:ext cx="1157754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/>
            <a:r>
              <a:rPr lang="ru-RU" altLang="ru-RU" sz="2000" b="1" dirty="0" smtClean="0">
                <a:solidFill>
                  <a:srgbClr val="002060"/>
                </a:solidFill>
              </a:rPr>
              <a:t>Российские школьники </a:t>
            </a:r>
            <a:r>
              <a:rPr lang="ru-RU" altLang="ru-RU" sz="2000" b="1" dirty="0">
                <a:solidFill>
                  <a:srgbClr val="002060"/>
                </a:solidFill>
              </a:rPr>
              <a:t>обладают значительным объемом знаний, </a:t>
            </a:r>
            <a:r>
              <a:rPr lang="ru-RU" altLang="ru-RU" sz="2000" b="1" dirty="0" smtClean="0">
                <a:solidFill>
                  <a:srgbClr val="002060"/>
                </a:solidFill>
              </a:rPr>
              <a:t>но не </a:t>
            </a:r>
            <a:r>
              <a:rPr lang="ru-RU" altLang="ru-RU" sz="2000" b="1" dirty="0">
                <a:solidFill>
                  <a:srgbClr val="002060"/>
                </a:solidFill>
              </a:rPr>
              <a:t>умеют </a:t>
            </a:r>
            <a:r>
              <a:rPr lang="ru-RU" altLang="ru-RU" sz="2000" b="1" dirty="0" smtClean="0">
                <a:solidFill>
                  <a:srgbClr val="002060"/>
                </a:solidFill>
              </a:rPr>
              <a:t>грамотно пользоваться </a:t>
            </a:r>
            <a:r>
              <a:rPr lang="ru-RU" altLang="ru-RU" sz="2000" b="1" dirty="0">
                <a:solidFill>
                  <a:srgbClr val="002060"/>
                </a:solidFill>
              </a:rPr>
              <a:t>этими </a:t>
            </a:r>
            <a:r>
              <a:rPr lang="ru-RU" altLang="ru-RU" sz="2000" b="1" dirty="0" smtClean="0">
                <a:solidFill>
                  <a:srgbClr val="002060"/>
                </a:solidFill>
              </a:rPr>
              <a:t>знаниями  </a:t>
            </a:r>
            <a:endParaRPr lang="ru-RU" altLang="ru-RU" sz="2000" b="1" dirty="0">
              <a:solidFill>
                <a:srgbClr val="002060"/>
              </a:solidFill>
            </a:endParaRPr>
          </a:p>
        </p:txBody>
      </p:sp>
      <p:cxnSp>
        <p:nvCxnSpPr>
          <p:cNvPr id="74" name="Прямая соединительная линия 7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193378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Прямоугольник 33"/>
          <p:cNvSpPr/>
          <p:nvPr/>
        </p:nvSpPr>
        <p:spPr>
          <a:xfrm>
            <a:off x="16311" y="2012007"/>
            <a:ext cx="12191999" cy="10525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российских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щихся в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следованиях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ct val="80000"/>
              </a:lnSpc>
              <a:defRPr/>
            </a:pPr>
            <a:endParaRPr lang="ru-RU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80000"/>
              </a:lnSpc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80000"/>
              </a:lnSpc>
              <a:defRPr/>
            </a:pP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0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201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ы</a:t>
            </a:r>
            <a:endParaRPr lang="ru-RU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1" y="2325939"/>
            <a:ext cx="4175671" cy="2495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7942" y="2325939"/>
            <a:ext cx="3920369" cy="2476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5380" y="4072789"/>
            <a:ext cx="4235982" cy="2476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882613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1472101" y="3443404"/>
            <a:ext cx="3648200" cy="1007297"/>
            <a:chOff x="2399924" y="2434776"/>
            <a:chExt cx="3648200" cy="1007297"/>
          </a:xfrm>
        </p:grpSpPr>
        <p:sp>
          <p:nvSpPr>
            <p:cNvPr id="28" name="Прямоугольник 27"/>
            <p:cNvSpPr/>
            <p:nvPr/>
          </p:nvSpPr>
          <p:spPr>
            <a:xfrm>
              <a:off x="3098291" y="2434776"/>
              <a:ext cx="2040944" cy="6463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20 - 30%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2399924" y="3072741"/>
              <a:ext cx="3648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4088956" y="1900238"/>
            <a:ext cx="5330517" cy="2318401"/>
            <a:chOff x="5067353" y="447277"/>
            <a:chExt cx="5330517" cy="2318401"/>
          </a:xfrm>
        </p:grpSpPr>
        <p:sp>
          <p:nvSpPr>
            <p:cNvPr id="29" name="Прямоугольник 28"/>
            <p:cNvSpPr/>
            <p:nvPr/>
          </p:nvSpPr>
          <p:spPr>
            <a:xfrm>
              <a:off x="8356926" y="2119347"/>
              <a:ext cx="2040944" cy="6463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90 - 95%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067353" y="447277"/>
              <a:ext cx="3648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2" name="Прямоугольник 21"/>
          <p:cNvSpPr/>
          <p:nvPr/>
        </p:nvSpPr>
        <p:spPr>
          <a:xfrm>
            <a:off x="4766571" y="6554647"/>
            <a:ext cx="726485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десь и далее использованы результаты РФ в международных сравнительных исследованиях, рук. Г.С. Ковалёва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15303" y="516623"/>
            <a:ext cx="1009207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Результаты </a:t>
            </a:r>
            <a:r>
              <a:rPr lang="en-US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ISA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: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15-летние обучающиес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524933" y="4201538"/>
            <a:ext cx="5388123" cy="18074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Н</a:t>
            </a:r>
            <a:r>
              <a:rPr lang="ru-RU" altLang="ru-RU" b="1" dirty="0" smtClean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е</a:t>
            </a:r>
            <a:r>
              <a:rPr lang="ru-RU" alt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достигают порогового уровня функциональной грамотности по всем </a:t>
            </a:r>
            <a:r>
              <a:rPr lang="ru-RU" altLang="ru-RU" b="1" dirty="0" smtClean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3-м областям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dirty="0" smtClean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чтению, </a:t>
            </a:r>
            <a:endParaRPr lang="ru-RU" altLang="ru-RU" dirty="0">
              <a:solidFill>
                <a:schemeClr val="bg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dirty="0" smtClean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математике, </a:t>
            </a:r>
            <a:endParaRPr lang="ru-RU" altLang="ru-RU" dirty="0">
              <a:solidFill>
                <a:schemeClr val="bg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dirty="0" smtClean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естествознанию или </a:t>
            </a:r>
            <a:r>
              <a:rPr lang="ru-RU" altLang="ru-RU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отдельным </a:t>
            </a:r>
            <a:r>
              <a:rPr lang="ru-RU" altLang="ru-RU" dirty="0" smtClean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областям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142958" y="4218639"/>
            <a:ext cx="5243163" cy="18074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Н</a:t>
            </a:r>
            <a:r>
              <a:rPr lang="ru-RU" altLang="ru-RU" b="1" dirty="0" smtClean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е </a:t>
            </a:r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достигают высоких уровней функциональной грамотности: </a:t>
            </a:r>
            <a:endParaRPr lang="ru-RU" altLang="ru-RU" b="1" dirty="0" smtClean="0">
              <a:solidFill>
                <a:schemeClr val="bg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dirty="0" smtClean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пособности </a:t>
            </a:r>
            <a:r>
              <a:rPr lang="ru-RU" altLang="ru-RU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амостоятельно </a:t>
            </a:r>
            <a:r>
              <a:rPr lang="ru-RU" altLang="ru-RU" dirty="0" smtClean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мыслит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dirty="0" smtClean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функционировать </a:t>
            </a:r>
            <a:r>
              <a:rPr lang="ru-RU" altLang="ru-RU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в сложных </a:t>
            </a:r>
            <a:r>
              <a:rPr lang="ru-RU" altLang="ru-RU" dirty="0" smtClean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условия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chemeClr val="bg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chemeClr val="bg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44220" y="1442076"/>
            <a:ext cx="3315259" cy="205230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548224" y="1322604"/>
            <a:ext cx="3369233" cy="2163492"/>
          </a:xfrm>
          <a:prstGeom prst="rect">
            <a:avLst/>
          </a:prstGeom>
        </p:spPr>
      </p:pic>
      <p:cxnSp>
        <p:nvCxnSpPr>
          <p:cNvPr id="47" name="Прямая соединительная линия 4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9</a:t>
            </a:fld>
            <a:endParaRPr lang="ru-RU" dirty="0"/>
          </a:p>
        </p:txBody>
      </p:sp>
      <p:pic>
        <p:nvPicPr>
          <p:cNvPr id="4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133368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476713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11</TotalTime>
  <Words>4446</Words>
  <Application>Microsoft Office PowerPoint</Application>
  <PresentationFormat>Произвольный</PresentationFormat>
  <Paragraphs>690</Paragraphs>
  <Slides>50</Slides>
  <Notes>27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0</vt:i4>
      </vt:variant>
    </vt:vector>
  </HeadingPairs>
  <TitlesOfParts>
    <vt:vector size="56" baseType="lpstr">
      <vt:lpstr>Тема Office</vt:lpstr>
      <vt:lpstr>1_Тема Office</vt:lpstr>
      <vt:lpstr>2_Тема Office</vt:lpstr>
      <vt:lpstr>3_Тема Office</vt:lpstr>
      <vt:lpstr>4_Тема Office</vt:lpstr>
      <vt:lpstr>Слайд think-cell</vt:lpstr>
      <vt:lpstr>ГРУППА КОМПАНИЙ «ПРОСВЕЩЕНИЕ» — СИСТЕМЕ ОБРАЗОВАНИЯ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Модель математической грамотности. PISA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ервисы для педагогов на сайте Группы компаний «Просвещение» prosv.ru  </vt:lpstr>
      <vt:lpstr>Слайд 5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jun-aleksandrova</cp:lastModifiedBy>
  <cp:revision>848</cp:revision>
  <cp:lastPrinted>2019-08-02T09:06:22Z</cp:lastPrinted>
  <dcterms:created xsi:type="dcterms:W3CDTF">2018-07-24T05:59:49Z</dcterms:created>
  <dcterms:modified xsi:type="dcterms:W3CDTF">2021-10-13T06:42:16Z</dcterms:modified>
</cp:coreProperties>
</file>